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4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20_86DA3036.xml" ContentType="application/vnd.ms-powerpoint.comments+xml"/>
  <Override PartName="/ppt/notesSlides/notesSlide7.xml" ContentType="application/vnd.openxmlformats-officedocument.presentationml.notesSlide+xml"/>
  <Override PartName="/ppt/comments/modernComment_124_E097A586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25_774AEAAB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18_527D1172.xml" ContentType="application/vnd.ms-powerpoint.comment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6" r:id="rId5"/>
    <p:sldMasterId id="2147483712" r:id="rId6"/>
    <p:sldMasterId id="2147483772" r:id="rId7"/>
    <p:sldMasterId id="2147483887" r:id="rId8"/>
  </p:sldMasterIdLst>
  <p:notesMasterIdLst>
    <p:notesMasterId r:id="rId24"/>
  </p:notesMasterIdLst>
  <p:sldIdLst>
    <p:sldId id="276" r:id="rId9"/>
    <p:sldId id="279" r:id="rId10"/>
    <p:sldId id="289" r:id="rId11"/>
    <p:sldId id="284" r:id="rId12"/>
    <p:sldId id="294" r:id="rId13"/>
    <p:sldId id="288" r:id="rId14"/>
    <p:sldId id="292" r:id="rId15"/>
    <p:sldId id="287" r:id="rId16"/>
    <p:sldId id="293" r:id="rId17"/>
    <p:sldId id="286" r:id="rId18"/>
    <p:sldId id="290" r:id="rId19"/>
    <p:sldId id="285" r:id="rId20"/>
    <p:sldId id="291" r:id="rId21"/>
    <p:sldId id="280" r:id="rId22"/>
    <p:sldId id="281" r:id="rId23"/>
  </p:sldIdLst>
  <p:sldSz cx="6858000" cy="96012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974903-5BEF-C8C1-D3B2-F1B14F046694}" name="Sharlene Hall" initials="SH" userId="S::shhall@helpathome.com::b77bfa25-6cc9-49e4-a9c6-58c918197fd5" providerId="AD"/>
  <p188:author id="{07D13415-F33A-D68E-2341-E328A7640CB7}" name="Hillary Darragh" initials="HD" userId="S::hdarragh@helpathome.com::fe5014e2-f27f-4ab4-bbbf-094d92728f78" providerId="AD"/>
  <p188:author id="{D8DBA635-D269-B0C0-E17B-6AB77E04E651}" name="Jake Ruetz" initials="JR" userId="S::jruetz@westmonroepartners.com::690b12f2-43fe-422b-9024-79096129b79f" providerId="AD"/>
  <p188:author id="{0F34D936-1A7C-45C6-FF18-064E21B7CCA2}" name="Katie Huxley" initials="KH" userId="S::khuxley@westmonroepartners.com::58a1f3a6-9ba2-4bb5-87a5-99212afdc393" providerId="AD"/>
  <p188:author id="{761E2459-77B3-9069-B9A9-C6827FEEE838}" name="Melissa Rankinen" initials="MR" userId="S::mrankinen@helpathome.com::d72a84aa-d12a-4f71-b0b8-b26e60f7f4d3" providerId="AD"/>
  <p188:author id="{CB0FF55D-0BA1-DBD4-2E50-A4A45C12D669}" name="Caroline Garand" initials="CG" userId="S::cgarand@helpathome.com::b9c42df1-9a38-4da7-bc0b-fe07c0e9062c" providerId="AD"/>
  <p188:author id="{A11BA567-C746-527C-FC6F-3857DE27077B}" name="Hannah Roark" initials="HR" userId="S::hroark@helpathome.com::6eba368d-0872-4692-a6c3-c66b89c3939f" providerId="AD"/>
  <p188:author id="{0CA5BA6D-3EFC-E081-E537-08A376FAEC77}" name="Mindy Au" initials="MA" userId="S::mau@helpathome.com::57dc90e5-d083-4302-ad9b-de24cf83e56d" providerId="AD"/>
  <p188:author id="{B8780686-23F8-BCA0-069D-EB77E59F1264}" name="Megan Lueders" initials="ML" userId="S::mlueders@helpathome.com::59b88f6d-325d-4648-b468-2e48bc7cb7da" providerId="AD"/>
  <p188:author id="{99916198-4A28-645D-7A0C-C0AD4D9C4263}" name="TYLER QUILLIN" initials="TQ" userId="S::tquillin@helpathome.com::4ba4016d-4640-4905-bc37-b844202ece54" providerId="AD"/>
  <p188:author id="{7C9BDB9F-B366-9036-8118-4276838C409B}" name="Kelsey Braak" initials="KB" userId="S::kbraak@westmonroepartners.com::2426fae8-cac4-4aa6-932e-0402376a194b" providerId="AD"/>
  <p188:author id="{E03E5FA9-4167-9DBB-267C-3992B050C8A9}" name="Coumba Kebe" initials="CK" userId="S::ckebe@helpathome.com::99ee8039-7985-4af1-b821-08c6486428c5" providerId="AD"/>
  <p188:author id="{021B9DAC-AB89-88A2-8A36-ADAEC7D5B0C7}" name="Lauren Keller" initials="LK" userId="S::lkeller@helpathome.com::4515ddbe-d17d-4b48-bafb-1c4e03778b15" providerId="AD"/>
  <p188:author id="{F2DD79B9-D109-8307-BE0A-5DFE5DBCB04E}" name="Christian Kerr" initials="CK" userId="S::ckerr@helpathome.com::4ffa99e1-ccad-4f45-bbda-b4c066d42526" providerId="AD"/>
  <p188:author id="{B65E57CB-1332-23FD-B6C4-15F336514AE4}" name="Jake Ruetz" initials="JR" userId="S::jruetz_westmonroe.com#ext#@cjinhelpathome324.onmicrosoft.com::326c548b-22e0-43af-adaf-868ef497a1c4" providerId="AD"/>
  <p188:author id="{3ADE0ED9-A709-D466-7A24-DDEBA36DFFB3}" name="Katherynne Dowman" initials="KD" userId="S::kdowman@helpathome.com::a3eade8a-32da-4a72-9feb-8e2c81114ae7" providerId="AD"/>
  <p188:author id="{27C539EB-FA03-67DF-8206-FBBDD5330B87}" name="Sharlene Hall" initials="SH" userId="Sharlene Hal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DED"/>
    <a:srgbClr val="EEE9E4"/>
    <a:srgbClr val="F0F3F6"/>
    <a:srgbClr val="BCCC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comments/modernComment_118_527D11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74F2026-7B84-4ADF-86C9-76072DEC806D}" authorId="{99916198-4A28-645D-7A0C-C0AD4D9C4263}" created="2025-01-03T17:11:41.06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83928178" sldId="280"/>
      <ac:grpSpMk id="15" creationId="{DA452558-951C-5150-3C66-C086C3CDE8C7}"/>
    </ac:deMkLst>
    <p188:replyLst>
      <p188:reply id="{EFABCBF3-E2C4-4828-A8E8-112F6263EA2D}" authorId="{99916198-4A28-645D-7A0C-C0AD4D9C4263}" created="2025-01-03T21:39:26.022">
        <p188:txBody>
          <a:bodyPr/>
          <a:lstStyle/>
          <a:p>
            <a:r>
              <a:rPr lang="en-US"/>
              <a:t>Completed</a:t>
            </a:r>
          </a:p>
        </p188:txBody>
      </p188:reply>
    </p188:replyLst>
    <p188:txBody>
      <a:bodyPr/>
      <a:lstStyle/>
      <a:p>
        <a:r>
          <a:rPr lang="en-US"/>
          <a:t>Need updated screenshot</a:t>
        </a:r>
      </a:p>
    </p188:txBody>
  </p188:cm>
</p188:cmLst>
</file>

<file path=ppt/comments/modernComment_120_86DA30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7EF290-5710-4D46-882D-B8D9AE5B73AF}" authorId="{99916198-4A28-645D-7A0C-C0AD4D9C4263}" created="2025-01-03T17:12:57.553">
    <pc:sldMkLst xmlns:pc="http://schemas.microsoft.com/office/powerpoint/2013/main/command">
      <pc:docMk/>
      <pc:sldMk cId="2262446134" sldId="288"/>
    </pc:sldMkLst>
    <p188:replyLst>
      <p188:reply id="{7F7676A6-DFFE-4729-8893-1BD98817DC8A}" authorId="{99916198-4A28-645D-7A0C-C0AD4D9C4263}" created="2025-01-03T22:21:05.716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eed updated phone template screenshots</a:t>
        </a:r>
      </a:p>
    </p188:txBody>
  </p188:cm>
  <p188:cm id="{56BBC3B0-4B05-42E1-8DE6-139BDDE3A1A8}" authorId="{99916198-4A28-645D-7A0C-C0AD4D9C4263}" created="2025-01-03T17:13:25.617">
    <pc:sldMkLst xmlns:pc="http://schemas.microsoft.com/office/powerpoint/2013/main/command">
      <pc:docMk/>
      <pc:sldMk cId="2262446134" sldId="288"/>
    </pc:sldMkLst>
    <p188:replyLst>
      <p188:reply id="{BB0242C3-57B8-4039-858A-7C0A6EF220E0}" authorId="{99916198-4A28-645D-7A0C-C0AD4D9C4263}" created="2025-01-03T22:21:09.738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Update 2nd pic only, use explanation about where personal and shift preferences are. </a:t>
        </a:r>
      </a:p>
    </p188:txBody>
  </p188:cm>
</p188:cmLst>
</file>

<file path=ppt/comments/modernComment_124_E097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716030-DA65-4694-BF43-0C0915155E29}" authorId="{99916198-4A28-645D-7A0C-C0AD4D9C4263}" created="2025-01-03T17:12:37.837">
    <pc:sldMkLst xmlns:pc="http://schemas.microsoft.com/office/powerpoint/2013/main/command">
      <pc:docMk/>
      <pc:sldMk cId="3768034694" sldId="292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comments/modernComment_125_774AEAA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9344564-ACE9-4589-B2FB-65B1B17F5E3C}" authorId="{99916198-4A28-645D-7A0C-C0AD4D9C4263}" created="2025-01-03T17:12:18.655">
    <pc:sldMkLst xmlns:pc="http://schemas.microsoft.com/office/powerpoint/2013/main/command">
      <pc:docMk/>
      <pc:sldMk cId="2001398443" sldId="293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76BF4-6FCE-411F-85ED-B93985CEF5F8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1143000"/>
            <a:ext cx="2203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CC4AE-7DE5-44D8-B6C4-7B5DC697B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36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91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ingrese la sucursal, el turno, el dí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0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410388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ingrese la sucursal, el turno, el dí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1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934439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2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6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08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5BC5E-08A4-E608-DC0D-0808E7E76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4F72F-8F8B-1D92-72A4-8D1F1C359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0A81BD-B137-3C4A-9F1B-E98E3F1CA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25E6D-3E47-B904-17E9-8F0A6E428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9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Añadir captura de pantalla de imprimir, descargar,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6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140013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E07BD-CEA6-FDFD-27B9-FA9A6D07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D12CB8-14A5-7185-7C2D-4356F5E5D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225AB-66A3-BF64-AA0B-E427FED03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Añadir captura de pantalla de imprimir, descargar, et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0CCDF-B305-CBF0-2402-8026748E55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7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2121714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Arreglar el monto- $2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8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375351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D1E72-D840-84E2-DF70-FC4FD91B9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63FBE5-49EA-89FE-B0EA-CE848E91E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790168-C528-A52A-A922-0A0A2334F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/>
              <a:t>Arreglar el monto- $2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5D407-605C-CE9D-FFD2-7FB2BE163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9</a:t>
            </a:fld>
            <a:endParaRPr lang="es-US"/>
          </a:p>
        </p:txBody>
      </p:sp>
    </p:spTree>
    <p:extLst>
      <p:ext uri="{BB962C8B-B14F-4D97-AF65-F5344CB8AC3E}">
        <p14:creationId xmlns:p14="http://schemas.microsoft.com/office/powerpoint/2010/main" val="1496705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8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8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8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06" y="54434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2" y="1053280"/>
            <a:ext cx="2820607" cy="1437701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1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5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219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71221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459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44412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681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615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78155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9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1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144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84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357737"/>
            <a:ext cx="5922819" cy="6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432" b="1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603966"/>
            <a:ext cx="5922819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362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7" name="SECTIONHEADER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3429003" y="1321578"/>
            <a:ext cx="2961409" cy="214614"/>
          </a:xfrm>
          <a:prstGeom prst="rect">
            <a:avLst/>
          </a:prstGeom>
        </p:spPr>
        <p:txBody>
          <a:bodyPr wrap="none" lIns="0" tIns="36576" rIns="0" bIns="0"/>
          <a:lstStyle>
            <a:lvl1pPr algn="r">
              <a:buNone/>
              <a:defRPr sz="778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Section Header (used to create Tab Pages and Table of Contents)</a:t>
            </a:r>
          </a:p>
        </p:txBody>
      </p:sp>
      <p:sp>
        <p:nvSpPr>
          <p:cNvPr id="5" name="CONTENT_BODY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467592" y="2067089"/>
            <a:ext cx="5922819" cy="6212541"/>
          </a:xfrm>
          <a:prstGeom prst="rect">
            <a:avLst/>
          </a:prstGeom>
        </p:spPr>
        <p:txBody>
          <a:bodyPr lIns="0" rIns="18288"/>
          <a:lstStyle/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NOTE"/>
          <p:cNvSpPr>
            <a:spLocks noGrp="1"/>
          </p:cNvSpPr>
          <p:nvPr>
            <p:ph type="body" sz="quarter" idx="25" hasCustomPrompt="1"/>
            <p:custDataLst>
              <p:tags r:id="rId5"/>
            </p:custDataLst>
          </p:nvPr>
        </p:nvSpPr>
        <p:spPr>
          <a:xfrm>
            <a:off x="467592" y="8674023"/>
            <a:ext cx="5922819" cy="410959"/>
          </a:xfrm>
          <a:prstGeom prst="rect">
            <a:avLst/>
          </a:prstGeom>
        </p:spPr>
        <p:txBody>
          <a:bodyPr lIns="0" tIns="18288" rIns="18288" bIns="18288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78" i="1">
                <a:solidFill>
                  <a:schemeClr val="tx1"/>
                </a:solidFill>
              </a:defRPr>
            </a:lvl1pPr>
            <a:lvl2pPr marL="0" indent="16834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778" i="1">
                <a:solidFill>
                  <a:schemeClr val="tx1"/>
                </a:solidFill>
              </a:defRPr>
            </a:lvl2pPr>
            <a:lvl3pPr marL="444795" indent="-22240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Font typeface="+mj-lt"/>
              <a:buAutoNum type="alphaLcParenR"/>
              <a:defRPr sz="778" i="1">
                <a:solidFill>
                  <a:schemeClr val="tx1"/>
                </a:solidFill>
              </a:defRPr>
            </a:lvl3pPr>
            <a:lvl4pPr marL="668741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None/>
              <a:defRPr sz="778">
                <a:solidFill>
                  <a:schemeClr val="tx1"/>
                </a:solidFill>
              </a:defRPr>
            </a:lvl4pPr>
            <a:lvl5pPr marL="1223191" indent="-33359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 sz="77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________________________</a:t>
            </a:r>
          </a:p>
          <a:p>
            <a:pPr lvl="0"/>
            <a:r>
              <a:rPr lang="en-US"/>
              <a:t>Source:</a:t>
            </a:r>
          </a:p>
          <a:p>
            <a:pPr lvl="1"/>
            <a:r>
              <a:rPr lang="en-US"/>
              <a:t>Footnotes</a:t>
            </a:r>
          </a:p>
        </p:txBody>
      </p:sp>
      <p:sp>
        <p:nvSpPr>
          <p:cNvPr id="8" name="PAGENUMBER">
            <a:extLst>
              <a:ext uri="{FF2B5EF4-FFF2-40B4-BE49-F238E27FC236}">
                <a16:creationId xmlns:a16="http://schemas.microsoft.com/office/drawing/2014/main" id="{F9530200-9D55-4CD7-9136-220782A2B11D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2630978" y="8900882"/>
            <a:ext cx="1602279" cy="5082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69"/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2297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d9aae3edd8_0_159"/>
          <p:cNvSpPr txBox="1">
            <a:spLocks noGrp="1"/>
          </p:cNvSpPr>
          <p:nvPr>
            <p:ph type="title"/>
          </p:nvPr>
        </p:nvSpPr>
        <p:spPr>
          <a:xfrm>
            <a:off x="293445" y="1292469"/>
            <a:ext cx="5915025" cy="1259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646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gd9aae3edd8_0_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2557" y="530975"/>
            <a:ext cx="1147397" cy="552238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gd9aae3edd8_0_159"/>
          <p:cNvSpPr txBox="1">
            <a:spLocks noGrp="1"/>
          </p:cNvSpPr>
          <p:nvPr>
            <p:ph type="sldNum" idx="12"/>
          </p:nvPr>
        </p:nvSpPr>
        <p:spPr>
          <a:xfrm>
            <a:off x="6417590" y="8866388"/>
            <a:ext cx="411581" cy="7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29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isp 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11449E-0F8D-4CCF-B9E3-B6BCF28C0D77}"/>
              </a:ext>
            </a:extLst>
          </p:cNvPr>
          <p:cNvSpPr/>
          <p:nvPr userDrawn="1"/>
        </p:nvSpPr>
        <p:spPr>
          <a:xfrm>
            <a:off x="0" y="0"/>
            <a:ext cx="6858000" cy="7506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323" tIns="58162" rIns="116323" bIns="581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89"/>
          </a:p>
        </p:txBody>
      </p:sp>
    </p:spTree>
    <p:extLst>
      <p:ext uri="{BB962C8B-B14F-4D97-AF65-F5344CB8AC3E}">
        <p14:creationId xmlns:p14="http://schemas.microsoft.com/office/powerpoint/2010/main" val="2962012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257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7005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38362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53270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75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7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5809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87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13"/>
            <a:ext cx="3504010" cy="5951186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2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5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85844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74"/>
            <a:ext cx="3530411" cy="610655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77314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5933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3" y="2106938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4496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9" y="2000258"/>
            <a:ext cx="3307783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36877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2" y="2196850"/>
            <a:ext cx="3650456" cy="6368671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285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1" y="2093596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43538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9706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2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5239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77960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8"/>
            <a:ext cx="3504010" cy="595118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691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1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4363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0" y="2321174"/>
            <a:ext cx="3530411" cy="610655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3120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9155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8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5233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2" y="2000258"/>
            <a:ext cx="3307783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59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50"/>
            <a:ext cx="3650456" cy="636867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67244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6894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024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842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88847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6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0312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361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7052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1960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1969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2384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6339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8974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756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0615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75251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22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9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42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2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6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9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7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89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 userDrawn="1"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31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0457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92602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B17DC4-A61D-4EAF-B65E-78495FD85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F6DF7C-3D05-4715-9DDF-81D51EDD6D99}"/>
              </a:ext>
            </a:extLst>
          </p:cNvPr>
          <p:cNvCxnSpPr>
            <a:cxnSpLocks/>
          </p:cNvCxnSpPr>
          <p:nvPr userDrawn="1"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6C9382-B3F0-4998-B4CA-778BC6FC11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4816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5861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5379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8" y="40718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3" y="1052897"/>
            <a:ext cx="2820606" cy="1438086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3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6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2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8437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252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95017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31499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8055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8135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0658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0985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4671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42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88637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234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86050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0481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1198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945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266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90411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1359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85488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0152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3771329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21857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7622" y="93878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8684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599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3862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2438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929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78557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19967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85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949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50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4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0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69805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73399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8331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F50D5-3A29-4A5D-BFD3-173EBA6F32E2}"/>
              </a:ext>
            </a:extLst>
          </p:cNvPr>
          <p:cNvSpPr/>
          <p:nvPr userDrawn="1"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C78D6-1931-4E12-BC49-D4D59CC21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197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693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092540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953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FE623C5D-89AF-974B-9EC7-9F9192168E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2"/>
          <a:stretch/>
        </p:blipFill>
        <p:spPr>
          <a:xfrm>
            <a:off x="1" y="3676014"/>
            <a:ext cx="6848908" cy="50717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83F329E6-A28F-AE4E-AEBA-0778244AD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15" y="717697"/>
            <a:ext cx="2085975" cy="2684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3424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–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17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505819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84560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49A46AC-F417-1543-BF7D-4D0416600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5601" y="3503198"/>
            <a:ext cx="2007482" cy="259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58331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 Rever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3CA37BA-851E-5A4A-9ACE-280ECF3E79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604" y="3503968"/>
            <a:ext cx="2007481" cy="25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2204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6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5932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Du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9"/>
            <a:ext cx="6242585" cy="1134237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54390-517E-9640-AC9D-8AF08224213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B4054F-17CD-D641-9E1B-A380C76E12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4" y="1593088"/>
            <a:ext cx="2953941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1C1B787-6A79-6943-A007-A6B4B3FD54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12357" y="1593090"/>
            <a:ext cx="2937936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093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008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62539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84310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408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5638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0306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340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9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24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1325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460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49353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195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21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91592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0595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148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72886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093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51422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6707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59755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63732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8746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19482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1950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6868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465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78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718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142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5584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8310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13141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44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06650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3838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ags" Target="../tags/tag14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ags" Target="../tags/tag1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tags" Target="../tags/tag1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16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tags" Target="../tags/tag14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tags" Target="../tags/tag146.xml"/><Relationship Id="rId5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4.xml"/><Relationship Id="rId56" Type="http://schemas.openxmlformats.org/officeDocument/2006/relationships/image" Target="../media/image28.emf"/><Relationship Id="rId8" Type="http://schemas.openxmlformats.org/officeDocument/2006/relationships/slideLayout" Target="../slideLayouts/slideLayout74.xml"/><Relationship Id="rId51" Type="http://schemas.openxmlformats.org/officeDocument/2006/relationships/tags" Target="../tags/tag14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tags" Target="../tags/tag14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142.xml"/><Relationship Id="rId57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tags" Target="../tags/tag1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tags" Target="../tags/tag277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tags" Target="../tags/tag280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tags" Target="../tags/tag279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21.xml"/><Relationship Id="rId51" Type="http://schemas.openxmlformats.org/officeDocument/2006/relationships/tags" Target="../tags/tag278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tags" Target="../tags/tag2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7592" y="282390"/>
            <a:ext cx="5922819" cy="124469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F1EC08-6FBC-814C-8823-60D66549F220}"/>
              </a:ext>
            </a:extLst>
          </p:cNvPr>
          <p:cNvSpPr/>
          <p:nvPr/>
        </p:nvSpPr>
        <p:spPr>
          <a:xfrm>
            <a:off x="0" y="8925336"/>
            <a:ext cx="6858000" cy="675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5E09D8-A5DD-6D45-9BE5-7A5FAD282BD0}"/>
              </a:ext>
            </a:extLst>
          </p:cNvPr>
          <p:cNvCxnSpPr/>
          <p:nvPr/>
        </p:nvCxnSpPr>
        <p:spPr>
          <a:xfrm>
            <a:off x="0" y="8769096"/>
            <a:ext cx="6858000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91125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727" r:id="rId7"/>
  </p:sldLayoutIdLst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84590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842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53" r:id="rId46"/>
    <p:sldLayoutId id="2147483724" r:id="rId47"/>
    <p:sldLayoutId id="2147483728" r:id="rId48"/>
    <p:sldLayoutId id="2147483986" r:id="rId49"/>
    <p:sldLayoutId id="2147483988" r:id="rId50"/>
    <p:sldLayoutId id="2147483726" r:id="rId51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90" y="511180"/>
            <a:ext cx="5915025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90" y="2555875"/>
            <a:ext cx="5915025" cy="609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898899"/>
            <a:ext cx="154305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5" y="8898899"/>
            <a:ext cx="23145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elp at Ho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5EC52-0876-A44D-879F-5575DC2F2A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E71D5B-4680-BD44-AC44-0749773CAD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07ED991-8C1F-3F48-BC94-36BB6871E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15255" y="9052184"/>
            <a:ext cx="1543050" cy="511175"/>
          </a:xfrm>
          <a:prstGeom prst="rect">
            <a:avLst/>
          </a:prstGeom>
        </p:spPr>
        <p:txBody>
          <a:bodyPr/>
          <a:lstStyle>
            <a:lvl1pPr algn="r"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C81780-0424-4C75-824C-A9240933BEB7}"/>
              </a:ext>
            </a:extLst>
          </p:cNvPr>
          <p:cNvSpPr/>
          <p:nvPr userDrawn="1"/>
        </p:nvSpPr>
        <p:spPr>
          <a:xfrm>
            <a:off x="0" y="0"/>
            <a:ext cx="6858000" cy="1166368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87"/>
          </a:p>
        </p:txBody>
      </p:sp>
    </p:spTree>
    <p:extLst>
      <p:ext uri="{BB962C8B-B14F-4D97-AF65-F5344CB8AC3E}">
        <p14:creationId xmlns:p14="http://schemas.microsoft.com/office/powerpoint/2010/main" val="114023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</p:sldLayoutIdLst>
  <p:hf hdr="0" dt="0"/>
  <p:txStyles>
    <p:titleStyle>
      <a:lvl1pPr algn="l" defTabSz="1008125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5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7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4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6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7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82B8AD-EEC8-4136-B66D-203D13333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894" y="2223"/>
          <a:ext cx="894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82B8AD-EEC8-4136-B66D-203D13333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94" y="2223"/>
                        <a:ext cx="894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RACKINGCODE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5656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4" r:id="rId42"/>
    <p:sldLayoutId id="2147483815" r:id="rId43"/>
    <p:sldLayoutId id="2147483816" r:id="rId44"/>
    <p:sldLayoutId id="2147483817" r:id="rId45"/>
    <p:sldLayoutId id="2147483819" r:id="rId46"/>
    <p:sldLayoutId id="2147483886" r:id="rId47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467592" y="282393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685907" y="203328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4675909" y="8754043"/>
            <a:ext cx="1714500" cy="67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6604086" y="9148568"/>
            <a:ext cx="253914" cy="361210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13571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7" r:id="rId47"/>
  </p:sldLayoutIdLst>
  <p:hf hdr="0" ftr="0" dt="0"/>
  <p:txStyles>
    <p:titleStyle>
      <a:lvl1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84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70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55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41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394" indent="-222394" algn="l" defTabSz="991501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84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80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27" indent="-21930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61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42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58" indent="-216215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41" indent="-225483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34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84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7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55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41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27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12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498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283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928" userDrawn="1">
          <p15:clr>
            <a:srgbClr val="F26B43"/>
          </p15:clr>
        </p15:guide>
        <p15:guide id="2" pos="2376" userDrawn="1">
          <p15:clr>
            <a:srgbClr val="F26B43"/>
          </p15:clr>
        </p15:guide>
        <p15:guide id="4" pos="324" userDrawn="1">
          <p15:clr>
            <a:srgbClr val="F26B43"/>
          </p15:clr>
        </p15:guide>
        <p15:guide id="5" orient="horz" pos="1523" userDrawn="1">
          <p15:clr>
            <a:srgbClr val="F26B43"/>
          </p15:clr>
        </p15:guide>
        <p15:guide id="6" orient="horz" pos="1971" userDrawn="1">
          <p15:clr>
            <a:srgbClr val="F26B43"/>
          </p15:clr>
        </p15:guide>
        <p15:guide id="7" orient="horz" pos="7885" userDrawn="1">
          <p15:clr>
            <a:srgbClr val="F26B43"/>
          </p15:clr>
        </p15:guide>
        <p15:guide id="8" orient="horz" pos="8243" userDrawn="1">
          <p15:clr>
            <a:srgbClr val="F26B43"/>
          </p15:clr>
        </p15:guide>
        <p15:guide id="9" orient="horz" pos="8602" userDrawn="1">
          <p15:clr>
            <a:srgbClr val="F26B43"/>
          </p15:clr>
        </p15:guide>
        <p15:guide id="10" pos="5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3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2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Relationship Id="rId9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microsoft.com/office/2018/10/relationships/comments" Target="../comments/modernComment_118_527D1172.xml"/><Relationship Id="rId7" Type="http://schemas.openxmlformats.org/officeDocument/2006/relationships/image" Target="../media/image32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8.jpeg"/><Relationship Id="rId11" Type="http://schemas.openxmlformats.org/officeDocument/2006/relationships/image" Target="../media/image85.png"/><Relationship Id="rId5" Type="http://schemas.openxmlformats.org/officeDocument/2006/relationships/image" Target="../media/image27.svg"/><Relationship Id="rId10" Type="http://schemas.openxmlformats.org/officeDocument/2006/relationships/image" Target="../media/image55.png"/><Relationship Id="rId4" Type="http://schemas.openxmlformats.org/officeDocument/2006/relationships/image" Target="../media/image26.png"/><Relationship Id="rId9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helpathome.com/hc/en-us/sections/24187486993687-Caregiver-Connect" TargetMode="External"/><Relationship Id="rId3" Type="http://schemas.openxmlformats.org/officeDocument/2006/relationships/image" Target="../media/image87.jpeg"/><Relationship Id="rId7" Type="http://schemas.openxmlformats.org/officeDocument/2006/relationships/hyperlink" Target="https://play.google.com/store/apps/details?id=com.helpathome.caregiv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8.xml"/><Relationship Id="rId6" Type="http://schemas.openxmlformats.org/officeDocument/2006/relationships/hyperlink" Target="https://apps.apple.com/us/app/help-at-home-caregiver/id6497407914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hyperlink" Target="https://support.helpathome.com/hc/en-us/articles/24626994924055-Caregiver-Connect-Training-Video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png"/><Relationship Id="rId3" Type="http://schemas.openxmlformats.org/officeDocument/2006/relationships/image" Target="../media/image31.jpeg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11" Type="http://schemas.openxmlformats.org/officeDocument/2006/relationships/hyperlink" Target="https://play.google.com/store/apps/details?id=com.helpathome.caregiver" TargetMode="External"/><Relationship Id="rId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hyperlink" Target="https://apps.apple.com/us/app/help-at-home-caregiver/id6497407914" TargetMode="Externa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26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2.pn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42.jpeg"/><Relationship Id="rId4" Type="http://schemas.openxmlformats.org/officeDocument/2006/relationships/image" Target="../media/image27.svg"/><Relationship Id="rId9" Type="http://schemas.openxmlformats.org/officeDocument/2006/relationships/image" Target="../media/image4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27.sv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8.png"/><Relationship Id="rId5" Type="http://schemas.openxmlformats.org/officeDocument/2006/relationships/image" Target="../media/image46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27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18/10/relationships/comments" Target="../comments/modernComment_120_86DA3036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6.png"/><Relationship Id="rId5" Type="http://schemas.openxmlformats.org/officeDocument/2006/relationships/image" Target="../media/image38.jpeg"/><Relationship Id="rId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microsoft.com/office/2018/10/relationships/comments" Target="../comments/modernComment_124_E097A586.xm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9.png"/><Relationship Id="rId5" Type="http://schemas.openxmlformats.org/officeDocument/2006/relationships/image" Target="../media/image55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10" Type="http://schemas.openxmlformats.org/officeDocument/2006/relationships/image" Target="../media/image74.png"/><Relationship Id="rId4" Type="http://schemas.openxmlformats.org/officeDocument/2006/relationships/image" Target="../media/image26.png"/><Relationship Id="rId9" Type="http://schemas.openxmlformats.org/officeDocument/2006/relationships/image" Target="../media/image7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18/10/relationships/comments" Target="../comments/modernComment_125_774AEAAB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77.png"/><Relationship Id="rId4" Type="http://schemas.openxmlformats.org/officeDocument/2006/relationships/image" Target="../media/image38.jpeg"/><Relationship Id="rId9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4D1707-E5D6-B9CE-69E4-AC09D514E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2180" y="8247433"/>
            <a:ext cx="2073640" cy="1076918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3405CE-26C8-B6F1-8DC8-C135D195E898}"/>
              </a:ext>
            </a:extLst>
          </p:cNvPr>
          <p:cNvSpPr txBox="1">
            <a:spLocks/>
          </p:cNvSpPr>
          <p:nvPr/>
        </p:nvSpPr>
        <p:spPr>
          <a:xfrm>
            <a:off x="535874" y="5561004"/>
            <a:ext cx="5777319" cy="1890121"/>
          </a:xfrm>
        </p:spPr>
        <p:txBody>
          <a:bodyPr lIns="91440" tIns="45720" rIns="91440" bIns="45720" anchor="ctr" anchorCtr="0">
            <a:noAutofit/>
          </a:bodyPr>
          <a:lstStyle>
            <a:lvl1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44784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889570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34355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779141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s-US" sz="1800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La </a:t>
            </a:r>
            <a:r>
              <a:rPr lang="es-US" sz="1800" b="1" i="1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aplicación móvil </a:t>
            </a:r>
            <a:r>
              <a:rPr lang="es-US" sz="1800" b="1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Caregiver Connect de Help at Home </a:t>
            </a:r>
            <a:r>
              <a:rPr lang="es-US" sz="1800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le dará acceso más fácil a los recursos y el soporte que necesita para que pueda enfocarse en el cuidado de sus clientes.</a:t>
            </a:r>
          </a:p>
          <a:p>
            <a:pPr algn="ctr"/>
            <a:endParaRPr lang="es-US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es-US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es-US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r>
              <a:rPr lang="es-US" sz="1800" b="1" i="1" kern="0">
                <a:solidFill>
                  <a:schemeClr val="accent5"/>
                </a:solidFill>
                <a:latin typeface="Fira Sans"/>
                <a:cs typeface="Calibri"/>
              </a:rPr>
              <a:t>¡Descárguela e inscríbase hoy mismo!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2BA6D2-CC75-DBBB-561A-9867DF2A4148}"/>
              </a:ext>
            </a:extLst>
          </p:cNvPr>
          <p:cNvGrpSpPr/>
          <p:nvPr/>
        </p:nvGrpSpPr>
        <p:grpSpPr>
          <a:xfrm>
            <a:off x="-545910" y="-3466531"/>
            <a:ext cx="7874758" cy="7825656"/>
            <a:chOff x="-545910" y="-3466531"/>
            <a:chExt cx="7874758" cy="7825656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529DBDA-B405-E688-91D0-EF616A705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7" r="8437" b="18094"/>
            <a:stretch/>
          </p:blipFill>
          <p:spPr>
            <a:xfrm>
              <a:off x="-409873" y="-617300"/>
              <a:ext cx="7602684" cy="4976425"/>
            </a:xfrm>
            <a:custGeom>
              <a:avLst/>
              <a:gdLst>
                <a:gd name="connsiteX0" fmla="*/ 12417 w 7602684"/>
                <a:gd name="connsiteY0" fmla="*/ 0 h 4976425"/>
                <a:gd name="connsiteX1" fmla="*/ 7590267 w 7602684"/>
                <a:gd name="connsiteY1" fmla="*/ 0 h 4976425"/>
                <a:gd name="connsiteX2" fmla="*/ 7602684 w 7602684"/>
                <a:gd name="connsiteY2" fmla="*/ 43453 h 4976425"/>
                <a:gd name="connsiteX3" fmla="*/ 7602684 w 7602684"/>
                <a:gd name="connsiteY3" fmla="*/ 2083741 h 4976425"/>
                <a:gd name="connsiteX4" fmla="*/ 7561704 w 7602684"/>
                <a:gd name="connsiteY4" fmla="*/ 2227152 h 4976425"/>
                <a:gd name="connsiteX5" fmla="*/ 3801342 w 7602684"/>
                <a:gd name="connsiteY5" fmla="*/ 4976425 h 4976425"/>
                <a:gd name="connsiteX6" fmla="*/ 40980 w 7602684"/>
                <a:gd name="connsiteY6" fmla="*/ 2227152 h 4976425"/>
                <a:gd name="connsiteX7" fmla="*/ 0 w 7602684"/>
                <a:gd name="connsiteY7" fmla="*/ 2083741 h 4976425"/>
                <a:gd name="connsiteX8" fmla="*/ 0 w 7602684"/>
                <a:gd name="connsiteY8" fmla="*/ 43454 h 49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2684" h="4976425">
                  <a:moveTo>
                    <a:pt x="12417" y="0"/>
                  </a:moveTo>
                  <a:lnTo>
                    <a:pt x="7590267" y="0"/>
                  </a:lnTo>
                  <a:lnTo>
                    <a:pt x="7602684" y="43453"/>
                  </a:lnTo>
                  <a:lnTo>
                    <a:pt x="7602684" y="2083741"/>
                  </a:lnTo>
                  <a:lnTo>
                    <a:pt x="7561704" y="2227152"/>
                  </a:lnTo>
                  <a:cubicBezTo>
                    <a:pt x="7063187" y="3819942"/>
                    <a:pt x="5568167" y="4976425"/>
                    <a:pt x="3801342" y="4976425"/>
                  </a:cubicBezTo>
                  <a:cubicBezTo>
                    <a:pt x="2034517" y="4976425"/>
                    <a:pt x="539497" y="3819942"/>
                    <a:pt x="40980" y="2227152"/>
                  </a:cubicBezTo>
                  <a:lnTo>
                    <a:pt x="0" y="2083741"/>
                  </a:lnTo>
                  <a:lnTo>
                    <a:pt x="0" y="43454"/>
                  </a:lnTo>
                  <a:close/>
                </a:path>
              </a:pathLst>
            </a:cu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41871011-2735-8C1D-128B-B91367272FF0}"/>
                </a:ext>
              </a:extLst>
            </p:cNvPr>
            <p:cNvSpPr/>
            <p:nvPr/>
          </p:nvSpPr>
          <p:spPr bwMode="auto">
            <a:xfrm>
              <a:off x="-545910" y="-3466531"/>
              <a:ext cx="7874758" cy="7825655"/>
            </a:xfrm>
            <a:prstGeom prst="flowChartConnector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4345A60-6D84-C9C0-944C-166FA2F85432}"/>
              </a:ext>
            </a:extLst>
          </p:cNvPr>
          <p:cNvSpPr txBox="1"/>
          <p:nvPr/>
        </p:nvSpPr>
        <p:spPr>
          <a:xfrm>
            <a:off x="-242468" y="1998370"/>
            <a:ext cx="7267873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US" sz="2800">
                <a:solidFill>
                  <a:schemeClr val="bg1"/>
                </a:solidFill>
                <a:latin typeface="Fira Sans"/>
                <a:cs typeface="Calibri Light"/>
              </a:rPr>
              <a:t>Introducción a la aplicación móvil </a:t>
            </a:r>
            <a:r>
              <a:rPr lang="es-US" sz="2800" i="1">
                <a:solidFill>
                  <a:schemeClr val="bg1"/>
                </a:solidFill>
                <a:latin typeface="Fira Sans"/>
                <a:cs typeface="Calibri Light"/>
              </a:rPr>
              <a:t>Caregiver Connect</a:t>
            </a:r>
            <a:r>
              <a:rPr lang="es-US" sz="2800">
                <a:solidFill>
                  <a:schemeClr val="bg1"/>
                </a:solidFill>
                <a:latin typeface="Fira Sans"/>
                <a:cs typeface="Calibri Light"/>
              </a:rPr>
              <a:t> </a:t>
            </a:r>
            <a:r>
              <a:rPr lang="es-US" sz="2800" i="1">
                <a:solidFill>
                  <a:schemeClr val="bg1"/>
                </a:solidFill>
                <a:latin typeface="Fira Sans"/>
                <a:cs typeface="Calibri Light"/>
              </a:rPr>
              <a:t>de Help at Ho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39B4EB-C812-A1FF-2FF3-1BA97A90C2B8}"/>
              </a:ext>
            </a:extLst>
          </p:cNvPr>
          <p:cNvSpPr txBox="1"/>
          <p:nvPr/>
        </p:nvSpPr>
        <p:spPr>
          <a:xfrm>
            <a:off x="17848" y="1382892"/>
            <a:ext cx="685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4000" b="1">
                <a:solidFill>
                  <a:schemeClr val="bg1"/>
                </a:solidFill>
                <a:latin typeface="Fira Sans" panose="020B0503050000020004" pitchFamily="34" charset="0"/>
              </a:rPr>
              <a:t>Guía del cuidado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931F64-8B52-85F6-8F94-746C7335F345}"/>
              </a:ext>
            </a:extLst>
          </p:cNvPr>
          <p:cNvSpPr txBox="1"/>
          <p:nvPr/>
        </p:nvSpPr>
        <p:spPr>
          <a:xfrm>
            <a:off x="1344397" y="3085138"/>
            <a:ext cx="42049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1600" b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eñada </a:t>
            </a:r>
            <a:r>
              <a:rPr lang="es-US" sz="16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r</a:t>
            </a:r>
            <a:r>
              <a:rPr lang="es-US" sz="1600" b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uidadores </a:t>
            </a:r>
            <a:r>
              <a:rPr lang="es-US" sz="16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a</a:t>
            </a:r>
            <a:r>
              <a:rPr lang="es-US" sz="1600" b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uidadores</a:t>
            </a:r>
          </a:p>
        </p:txBody>
      </p:sp>
    </p:spTree>
    <p:extLst>
      <p:ext uri="{BB962C8B-B14F-4D97-AF65-F5344CB8AC3E}">
        <p14:creationId xmlns:p14="http://schemas.microsoft.com/office/powerpoint/2010/main" val="23115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US" sz="20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icitar más turnos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4DB5B3-D427-BA95-B87F-90558C21724F}"/>
              </a:ext>
            </a:extLst>
          </p:cNvPr>
          <p:cNvSpPr txBox="1"/>
          <p:nvPr/>
        </p:nvSpPr>
        <p:spPr>
          <a:xfrm>
            <a:off x="1768926" y="4343569"/>
            <a:ext cx="719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1000" b="1"/>
              <a:t>$250.0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0A34E9-D186-2DF9-3844-95C0BF0D8A83}"/>
              </a:ext>
            </a:extLst>
          </p:cNvPr>
          <p:cNvSpPr txBox="1"/>
          <p:nvPr/>
        </p:nvSpPr>
        <p:spPr>
          <a:xfrm>
            <a:off x="1557545" y="1921627"/>
            <a:ext cx="719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9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A8A66-E2E6-D2EB-6C99-76B5D2395D71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24944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>
                  <a:latin typeface="Fira Sans" panose="020B0503050000020004" pitchFamily="34" charset="0"/>
                </a:rPr>
                <a:t>Haga clic en</a:t>
              </a:r>
              <a:r>
                <a:rPr lang="es-US" sz="1400" b="1">
                  <a:latin typeface="Fira Sans" panose="020B0503050000020004" pitchFamily="34" charset="0"/>
                </a:rPr>
                <a:t> Solicitar más turnos</a:t>
              </a:r>
              <a:r>
                <a:rPr lang="es-US" sz="140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3982251" y="8629432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3957120" y="6170244"/>
            <a:ext cx="1969395" cy="39060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936111" y="7096558"/>
            <a:ext cx="3041514" cy="1762659"/>
            <a:chOff x="2209141" y="1462023"/>
            <a:chExt cx="3041514" cy="176265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209141" y="1627444"/>
              <a:ext cx="2889733" cy="159723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Ingrese su </a:t>
              </a:r>
              <a:r>
                <a:rPr lang="es-US" sz="1400" b="1" dirty="0">
                  <a:latin typeface="Fira Sans" panose="020B0503050000020004" pitchFamily="34" charset="0"/>
                </a:rPr>
                <a:t>sucursal</a:t>
              </a:r>
              <a:r>
                <a:rPr lang="es-US" sz="1400" dirty="0">
                  <a:latin typeface="Fira Sans" panose="020B0503050000020004" pitchFamily="34" charset="0"/>
                </a:rPr>
                <a:t> </a:t>
              </a:r>
              <a:r>
                <a:rPr lang="es-US" dirty="0">
                  <a:latin typeface="Fira Sans" panose="020B0503050000020004" pitchFamily="34" charset="0"/>
                </a:rPr>
                <a:t>y </a:t>
              </a:r>
              <a:r>
                <a:rPr lang="es-US" sz="1400" dirty="0">
                  <a:latin typeface="Fira Sans" panose="020B0503050000020004" pitchFamily="34" charset="0"/>
                </a:rPr>
                <a:t>los </a:t>
              </a:r>
              <a:r>
                <a:rPr lang="es-US" sz="1400" b="1" dirty="0">
                  <a:latin typeface="Fira Sans" panose="020B0503050000020004" pitchFamily="34" charset="0"/>
                </a:rPr>
                <a:t>días</a:t>
              </a:r>
              <a:r>
                <a:rPr lang="es-US" sz="1400" dirty="0">
                  <a:latin typeface="Fira Sans" panose="020B0503050000020004" pitchFamily="34" charset="0"/>
                </a:rPr>
                <a:t> y </a:t>
              </a:r>
              <a:r>
                <a:rPr lang="es-US" sz="1400" b="1" dirty="0">
                  <a:latin typeface="Fira Sans" panose="020B0503050000020004" pitchFamily="34" charset="0"/>
                </a:rPr>
                <a:t>horarios</a:t>
              </a:r>
              <a:r>
                <a:rPr lang="es-US" sz="1400" dirty="0">
                  <a:latin typeface="Fira Sans" panose="020B0503050000020004" pitchFamily="34" charset="0"/>
                </a:rPr>
                <a:t> en los que busca tomar horas extra y haga clic en </a:t>
              </a:r>
              <a:r>
                <a:rPr lang="es-US" sz="1400" b="1" dirty="0">
                  <a:latin typeface="Fira Sans" panose="020B0503050000020004" pitchFamily="34" charset="0"/>
                </a:rPr>
                <a:t>Enviar. </a:t>
              </a:r>
              <a:r>
                <a:rPr lang="es-US" sz="1400" dirty="0">
                  <a:latin typeface="Fira Sans" panose="020B0503050000020004" pitchFamily="34" charset="0"/>
                </a:rPr>
                <a:t>Su sucursal revisará la solicitud y se comunicará con usted para informarle los próximos pasos</a:t>
              </a:r>
              <a:r>
                <a:rPr lang="es-US" dirty="0">
                  <a:latin typeface="Fira Sans" panose="020B0503050000020004" pitchFamily="34" charset="0"/>
                </a:rPr>
                <a:t>.</a:t>
              </a:r>
              <a:endParaRPr lang="es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>
                  <a:latin typeface="Fira Sans" panose="020B0503050000020004" pitchFamily="34" charset="0"/>
                </a:rPr>
                <a:t>Haga clic en </a:t>
              </a:r>
              <a:r>
                <a:rPr lang="es-US" b="1">
                  <a:latin typeface="Fira Sans" panose="020B0503050000020004" pitchFamily="34" charset="0"/>
                </a:rPr>
                <a:t>Ver recibos de sueldo</a:t>
              </a:r>
              <a:r>
                <a:rPr lang="es-US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D7D7D65-E2AE-E127-C11A-D62FCEA9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574" y="1325533"/>
            <a:ext cx="2186963" cy="443893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CD3DD0-E5F7-01B5-DF82-E9D34D0A8E4D}"/>
              </a:ext>
            </a:extLst>
          </p:cNvPr>
          <p:cNvSpPr/>
          <p:nvPr/>
        </p:nvSpPr>
        <p:spPr bwMode="auto">
          <a:xfrm>
            <a:off x="558713" y="2590791"/>
            <a:ext cx="1477093" cy="2902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DA2009-A006-EC9A-CE94-4601D4395C95}"/>
              </a:ext>
            </a:extLst>
          </p:cNvPr>
          <p:cNvGrpSpPr/>
          <p:nvPr/>
        </p:nvGrpSpPr>
        <p:grpSpPr>
          <a:xfrm>
            <a:off x="2104709" y="2668699"/>
            <a:ext cx="2127195" cy="4368424"/>
            <a:chOff x="8045428" y="1324839"/>
            <a:chExt cx="2190120" cy="437422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8E07D70-9900-4CCA-BE86-EC525C28B384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80B2FB6-3AC8-4B1A-8F94-C502A9146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7" name="Picture 2">
                <a:extLst>
                  <a:ext uri="{FF2B5EF4-FFF2-40B4-BE49-F238E27FC236}">
                    <a16:creationId xmlns:a16="http://schemas.microsoft.com/office/drawing/2014/main" id="{00FF7458-F47A-911F-9921-A839D67120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A7738C-8457-2E32-716F-919EBBD0A38D}"/>
                </a:ext>
              </a:extLst>
            </p:cNvPr>
            <p:cNvSpPr/>
            <p:nvPr/>
          </p:nvSpPr>
          <p:spPr bwMode="auto">
            <a:xfrm>
              <a:off x="8210526" y="3534956"/>
              <a:ext cx="1816855" cy="29924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64B5EC-0647-BFC7-FE51-7DE5914AD1F8}"/>
              </a:ext>
            </a:extLst>
          </p:cNvPr>
          <p:cNvGrpSpPr/>
          <p:nvPr/>
        </p:nvGrpSpPr>
        <p:grpSpPr>
          <a:xfrm>
            <a:off x="4039976" y="4809812"/>
            <a:ext cx="2127195" cy="4368424"/>
            <a:chOff x="9620915" y="3022278"/>
            <a:chExt cx="2127195" cy="4368424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180DFE3-3F62-33F3-C84B-2E7D95DF1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20915" y="3022278"/>
              <a:ext cx="2127195" cy="4368424"/>
            </a:xfrm>
            <a:prstGeom prst="round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A757ACF0-C4D2-B7EF-5734-A0E82E5DB5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2213" y="3120921"/>
              <a:ext cx="1883730" cy="4147626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450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5118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US" sz="20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ormar un error en el turno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42932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>
                  <a:latin typeface="Fira Sans" panose="020B0503050000020004" pitchFamily="34" charset="0"/>
                </a:rPr>
                <a:t>Haga clic en</a:t>
              </a:r>
              <a:r>
                <a:rPr lang="es-US" sz="1400" b="1">
                  <a:latin typeface="Fira Sans" panose="020B0503050000020004" pitchFamily="34" charset="0"/>
                </a:rPr>
                <a:t> </a:t>
              </a:r>
              <a:r>
                <a:rPr lang="es-US" b="1">
                  <a:latin typeface="Fira Sans" panose="020B0503050000020004" pitchFamily="34" charset="0"/>
                </a:rPr>
                <a:t>Notificar un error en el turno</a:t>
              </a:r>
              <a:r>
                <a:rPr lang="es-US" sz="140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1155553" y="7096558"/>
            <a:ext cx="2822072" cy="1615435"/>
            <a:chOff x="2428583" y="1462023"/>
            <a:chExt cx="2822072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428583" y="1627444"/>
              <a:ext cx="2670291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>
                  <a:latin typeface="Fira Sans" panose="020B0503050000020004" pitchFamily="34" charset="0"/>
                </a:rPr>
                <a:t>Ingrese su </a:t>
              </a:r>
              <a:r>
                <a:rPr lang="es-US" b="1">
                  <a:latin typeface="Fira Sans" panose="020B0503050000020004" pitchFamily="34" charset="0"/>
                </a:rPr>
                <a:t>cronograma e indique los días y horarios en que </a:t>
              </a:r>
              <a:r>
                <a:rPr lang="es-US">
                  <a:latin typeface="Fira Sans" panose="020B0503050000020004" pitchFamily="34" charset="0"/>
                </a:rPr>
                <a:t>se deben modificar los turnos. Un miembro de la sucursal hará el seguimiento y actualizará el error.</a:t>
              </a:r>
              <a:endParaRPr lang="es-US" sz="1400">
                <a:latin typeface="Fira Sans" panose="020B0503050000020004" pitchFamily="34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>
                  <a:latin typeface="Fira Sans" panose="020B0503050000020004" pitchFamily="34" charset="0"/>
                </a:rPr>
                <a:t>Haga clic en </a:t>
              </a:r>
              <a:r>
                <a:rPr lang="es-US" b="1">
                  <a:latin typeface="Fira Sans" panose="020B0503050000020004" pitchFamily="34" charset="0"/>
                </a:rPr>
                <a:t>Ver cronograma</a:t>
              </a:r>
              <a:r>
                <a:rPr lang="es-US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2344288" y="4953398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A2DA3AF-01CF-67D8-9779-915EA5F64DB1}"/>
              </a:ext>
            </a:extLst>
          </p:cNvPr>
          <p:cNvSpPr/>
          <p:nvPr/>
        </p:nvSpPr>
        <p:spPr bwMode="auto">
          <a:xfrm>
            <a:off x="4181434" y="5702456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8E4933-7029-4D1B-3D83-217D5B10EC58}"/>
              </a:ext>
            </a:extLst>
          </p:cNvPr>
          <p:cNvSpPr/>
          <p:nvPr/>
        </p:nvSpPr>
        <p:spPr bwMode="auto">
          <a:xfrm>
            <a:off x="4181434" y="7213364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E8411A-80A1-EA60-B47A-639BD572D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828" y="879349"/>
            <a:ext cx="2136426" cy="455246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220030" y="3812812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664F4D6-92A2-63E2-5845-4BBE723C40C6}"/>
              </a:ext>
            </a:extLst>
          </p:cNvPr>
          <p:cNvGrpSpPr/>
          <p:nvPr/>
        </p:nvGrpSpPr>
        <p:grpSpPr>
          <a:xfrm>
            <a:off x="2211963" y="2518430"/>
            <a:ext cx="2260788" cy="4552465"/>
            <a:chOff x="0" y="0"/>
            <a:chExt cx="3929993" cy="7694996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F44025F7-C2A0-92A8-29F6-C269B3990080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7" name="Freeform 3">
            <a:extLst>
              <a:ext uri="{FF2B5EF4-FFF2-40B4-BE49-F238E27FC236}">
                <a16:creationId xmlns:a16="http://schemas.microsoft.com/office/drawing/2014/main" id="{A43F3E79-AB97-B038-CC9C-4814F81C239E}"/>
              </a:ext>
            </a:extLst>
          </p:cNvPr>
          <p:cNvSpPr/>
          <p:nvPr/>
        </p:nvSpPr>
        <p:spPr>
          <a:xfrm>
            <a:off x="4128214" y="4591407"/>
            <a:ext cx="2344725" cy="4915726"/>
          </a:xfrm>
          <a:custGeom>
            <a:avLst/>
            <a:gdLst/>
            <a:ahLst/>
            <a:cxnLst/>
            <a:rect l="l" t="t" r="r" b="b"/>
            <a:pathLst>
              <a:path w="6038988" h="11824447">
                <a:moveTo>
                  <a:pt x="0" y="0"/>
                </a:moveTo>
                <a:lnTo>
                  <a:pt x="6038988" y="0"/>
                </a:lnTo>
                <a:lnTo>
                  <a:pt x="6038988" y="11824447"/>
                </a:lnTo>
                <a:lnTo>
                  <a:pt x="0" y="11824447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es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EA4C2-A8DE-912C-4EB6-7E3E7B66AABF}"/>
              </a:ext>
            </a:extLst>
          </p:cNvPr>
          <p:cNvSpPr/>
          <p:nvPr/>
        </p:nvSpPr>
        <p:spPr bwMode="auto">
          <a:xfrm>
            <a:off x="2635680" y="5020475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2CD86F-13F4-7F3F-CDB3-9A73414572AF}"/>
              </a:ext>
            </a:extLst>
          </p:cNvPr>
          <p:cNvSpPr/>
          <p:nvPr/>
        </p:nvSpPr>
        <p:spPr bwMode="auto">
          <a:xfrm>
            <a:off x="4181434" y="5685965"/>
            <a:ext cx="2207568" cy="66799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03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 client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CD6534-0BFC-C398-645B-5C66E5629F48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267977" y="2836354"/>
            <a:ext cx="2487540" cy="1150922"/>
            <a:chOff x="4187717" y="2485143"/>
            <a:chExt cx="2487540" cy="115092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485136" y="2485143"/>
              <a:ext cx="2190121" cy="115092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Haga clic en</a:t>
              </a:r>
              <a:r>
                <a:rPr lang="es-US" sz="1400" b="1" dirty="0">
                  <a:latin typeface="Fira Sans" panose="020B0503050000020004" pitchFamily="34" charset="0"/>
                </a:rPr>
                <a:t> Ver indicaciones </a:t>
              </a:r>
              <a:r>
                <a:rPr lang="es-US" sz="1400" dirty="0">
                  <a:latin typeface="Fira Sans" panose="020B0503050000020004" pitchFamily="34" charset="0"/>
                </a:rPr>
                <a:t>para abrir las indicaciones hasta la ubicación de su cliente.</a:t>
              </a:r>
              <a:endParaRPr lang="es-US" sz="1200" dirty="0">
                <a:latin typeface="Fira Sans" panose="020B0503050000020004" pitchFamily="34" charset="0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187717" y="248514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062492" y="7566445"/>
            <a:ext cx="2757653" cy="1021778"/>
            <a:chOff x="2570001" y="1422923"/>
            <a:chExt cx="2757653" cy="10217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570001" y="1568965"/>
              <a:ext cx="2520577" cy="87573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/>
                  <a:cs typeface="Arial"/>
                </a:rPr>
                <a:t>Haga clic en </a:t>
              </a:r>
              <a:r>
                <a:rPr lang="es-US" sz="1400" b="1" dirty="0">
                  <a:latin typeface="Fira Sans"/>
                  <a:cs typeface="Arial"/>
                </a:rPr>
                <a:t>indicaciones</a:t>
              </a:r>
              <a:r>
                <a:rPr lang="es-US" sz="1400" dirty="0">
                  <a:latin typeface="Fira Sans"/>
                  <a:cs typeface="Arial"/>
                </a:rPr>
                <a:t> en </a:t>
              </a:r>
              <a:r>
                <a:rPr lang="es-US" dirty="0">
                  <a:latin typeface="Fira Sans"/>
                  <a:cs typeface="Arial"/>
                </a:rPr>
                <a:t>Apple o Google</a:t>
              </a:r>
              <a:r>
                <a:rPr lang="es-US" sz="1400" dirty="0">
                  <a:latin typeface="Fira Sans"/>
                  <a:cs typeface="Arial"/>
                </a:rPr>
                <a:t> </a:t>
              </a:r>
              <a:r>
                <a:rPr lang="es-US" sz="1400" dirty="0" err="1">
                  <a:latin typeface="Fira Sans"/>
                  <a:cs typeface="Arial"/>
                </a:rPr>
                <a:t>Maps</a:t>
              </a:r>
              <a:r>
                <a:rPr lang="es-US" sz="1400" dirty="0">
                  <a:latin typeface="Fira Sans"/>
                  <a:cs typeface="Arial"/>
                </a:rPr>
                <a:t> para dirigirse a la visita a </a:t>
              </a:r>
              <a:r>
                <a:rPr lang="es-US" dirty="0">
                  <a:latin typeface="Fira Sans"/>
                  <a:cs typeface="Arial"/>
                </a:rPr>
                <a:t>su </a:t>
              </a:r>
              <a:r>
                <a:rPr lang="es-US" sz="1400" dirty="0">
                  <a:latin typeface="Fira Sans"/>
                  <a:cs typeface="Arial"/>
                </a:rPr>
                <a:t>cliente</a:t>
              </a:r>
              <a:r>
                <a:rPr lang="es-US" dirty="0">
                  <a:latin typeface="Fira Sans"/>
                  <a:cs typeface="Arial"/>
                </a:rPr>
                <a:t>.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61894" y="14229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>
                  <a:latin typeface="Fira Sans" panose="020B0503050000020004" pitchFamily="34" charset="0"/>
                </a:rPr>
                <a:t>Haga clic en </a:t>
              </a:r>
              <a:r>
                <a:rPr lang="es-US" sz="1400" b="1">
                  <a:latin typeface="Fira Sans" panose="020B0503050000020004" pitchFamily="34" charset="0"/>
                </a:rPr>
                <a:t>Ver clientes </a:t>
              </a:r>
              <a:r>
                <a:rPr lang="es-US" sz="1400">
                  <a:latin typeface="Fira Sans" panose="020B0503050000020004" pitchFamily="34" charset="0"/>
                </a:rPr>
                <a:t>para ver su lista actual de clientes.</a:t>
              </a: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9DC11AA-4BFA-D7BF-96A3-76E7BEE8F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355" y="1012977"/>
            <a:ext cx="2136426" cy="45524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23A23-BED2-F918-2807-31CC6D4457D9}"/>
              </a:ext>
            </a:extLst>
          </p:cNvPr>
          <p:cNvGrpSpPr/>
          <p:nvPr/>
        </p:nvGrpSpPr>
        <p:grpSpPr>
          <a:xfrm>
            <a:off x="2023139" y="2874400"/>
            <a:ext cx="2190120" cy="4374223"/>
            <a:chOff x="7145419" y="1869582"/>
            <a:chExt cx="2190120" cy="437422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544415D-695E-1B9F-E5C0-D56B2368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45419" y="1869582"/>
              <a:ext cx="2190120" cy="4374223"/>
            </a:xfrm>
            <a:prstGeom prst="roundRect">
              <a:avLst/>
            </a:prstGeom>
          </p:spPr>
        </p:pic>
        <p:pic>
          <p:nvPicPr>
            <p:cNvPr id="33" name="Picture 32" descr="A screenshot of a phone&#10;&#10;Description automatically generated">
              <a:extLst>
                <a:ext uri="{FF2B5EF4-FFF2-40B4-BE49-F238E27FC236}">
                  <a16:creationId xmlns:a16="http://schemas.microsoft.com/office/drawing/2014/main" id="{D6349426-E194-01B4-88B5-3467AA50F92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72843" y="1940767"/>
              <a:ext cx="1945801" cy="4170784"/>
            </a:xfrm>
            <a:prstGeom prst="round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D220C12-EA36-50FE-0718-1388AF6745BC}"/>
                </a:ext>
              </a:extLst>
            </p:cNvPr>
            <p:cNvSpPr/>
            <p:nvPr/>
          </p:nvSpPr>
          <p:spPr bwMode="auto">
            <a:xfrm flipH="1">
              <a:off x="7314089" y="2982458"/>
              <a:ext cx="939451" cy="27332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41A8539-C248-51A7-0896-029C6E3751B1}"/>
              </a:ext>
            </a:extLst>
          </p:cNvPr>
          <p:cNvGrpSpPr/>
          <p:nvPr/>
        </p:nvGrpSpPr>
        <p:grpSpPr>
          <a:xfrm>
            <a:off x="3734445" y="4776479"/>
            <a:ext cx="2190120" cy="4374223"/>
            <a:chOff x="7875461" y="1339848"/>
            <a:chExt cx="2190120" cy="437422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C0961CD-0011-AC11-FFE7-A98C5B732BFF}"/>
                </a:ext>
              </a:extLst>
            </p:cNvPr>
            <p:cNvGrpSpPr/>
            <p:nvPr/>
          </p:nvGrpSpPr>
          <p:grpSpPr>
            <a:xfrm>
              <a:off x="7875461" y="1339848"/>
              <a:ext cx="2190120" cy="4374223"/>
              <a:chOff x="7875461" y="1339848"/>
              <a:chExt cx="2190120" cy="4374223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FB96576B-F51E-C4E3-8D33-7C923A484A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461" y="1339848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8" name="Picture 27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8EB2CF59-4D62-C3FA-0A3D-7642B1663E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987004" y="1446246"/>
                <a:ext cx="1972573" cy="412413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A6B8C0-B14A-5357-C8B4-0ABCB86269F0}"/>
                </a:ext>
              </a:extLst>
            </p:cNvPr>
            <p:cNvSpPr/>
            <p:nvPr/>
          </p:nvSpPr>
          <p:spPr bwMode="auto">
            <a:xfrm>
              <a:off x="7953802" y="3915652"/>
              <a:ext cx="872958" cy="3067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90D5941-35A5-7AE8-484D-5867722A359A}"/>
              </a:ext>
            </a:extLst>
          </p:cNvPr>
          <p:cNvSpPr/>
          <p:nvPr/>
        </p:nvSpPr>
        <p:spPr bwMode="auto">
          <a:xfrm>
            <a:off x="197951" y="3194020"/>
            <a:ext cx="1043585" cy="1903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9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25385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 cronogram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425348" y="2940763"/>
            <a:ext cx="2422257" cy="1386090"/>
            <a:chOff x="4529709" y="3171667"/>
            <a:chExt cx="2422257" cy="9824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727230" y="3296034"/>
              <a:ext cx="2224736" cy="85811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200" dirty="0">
                  <a:latin typeface="Fira Sans" panose="020B0503050000020004" pitchFamily="34" charset="0"/>
                </a:rPr>
                <a:t>Se mostrará el cronograma de esta semana. Pulse en cada visita para ver los detalles del cronograma de su turno.</a:t>
              </a: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529709" y="317166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155512" y="7490036"/>
            <a:ext cx="2756030" cy="978937"/>
            <a:chOff x="2663021" y="1346514"/>
            <a:chExt cx="2756030" cy="97893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663021" y="1586787"/>
              <a:ext cx="252057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/>
                  <a:cs typeface="Arial"/>
                </a:rPr>
                <a:t>Haga clic en las </a:t>
              </a:r>
              <a:r>
                <a:rPr lang="es-US" sz="1400" b="1" dirty="0">
                  <a:latin typeface="Fira Sans"/>
                  <a:cs typeface="Arial"/>
                </a:rPr>
                <a:t>flechas</a:t>
              </a:r>
              <a:r>
                <a:rPr lang="es-US" sz="1400" dirty="0">
                  <a:latin typeface="Fira Sans"/>
                  <a:cs typeface="Arial"/>
                </a:rPr>
                <a:t> </a:t>
              </a:r>
              <a:r>
                <a:rPr lang="es-US" dirty="0">
                  <a:latin typeface="Fira Sans"/>
                  <a:cs typeface="Arial"/>
                </a:rPr>
                <a:t>en la parte superior derecha para ir a visitas pasadas o futuras.</a:t>
              </a:r>
              <a:endParaRPr lang="es-US" sz="1400" dirty="0">
                <a:latin typeface="Fira Sans"/>
                <a:cs typeface="Arial"/>
              </a:endParaRP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5053291" y="1346514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>
                  <a:latin typeface="Fira Sans" panose="020B0503050000020004" pitchFamily="34" charset="0"/>
                </a:rPr>
                <a:t>Haga clic en </a:t>
              </a:r>
              <a:r>
                <a:rPr lang="es-US" sz="1400" b="1">
                  <a:latin typeface="Fira Sans" panose="020B0503050000020004" pitchFamily="34" charset="0"/>
                </a:rPr>
                <a:t>Ver </a:t>
              </a:r>
              <a:r>
                <a:rPr lang="es-US" b="1">
                  <a:latin typeface="Fira Sans" panose="020B0503050000020004" pitchFamily="34" charset="0"/>
                </a:rPr>
                <a:t>cronograma</a:t>
              </a:r>
              <a:r>
                <a:rPr lang="es-US" sz="140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06A091A2-2E9F-4D8E-DE98-C782690D2F3D}"/>
              </a:ext>
            </a:extLst>
          </p:cNvPr>
          <p:cNvSpPr/>
          <p:nvPr/>
        </p:nvSpPr>
        <p:spPr bwMode="auto">
          <a:xfrm>
            <a:off x="4196421" y="5221122"/>
            <a:ext cx="2130509" cy="41517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7C00E32-C1DA-474C-E065-E4C0DB0DD3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938" y="1083836"/>
            <a:ext cx="2136426" cy="4552465"/>
          </a:xfrm>
          <a:prstGeom prst="rect">
            <a:avLst/>
          </a:prstGeom>
        </p:spPr>
      </p:pic>
      <p:grpSp>
        <p:nvGrpSpPr>
          <p:cNvPr id="17" name="Group 10">
            <a:extLst>
              <a:ext uri="{FF2B5EF4-FFF2-40B4-BE49-F238E27FC236}">
                <a16:creationId xmlns:a16="http://schemas.microsoft.com/office/drawing/2014/main" id="{97E1A99F-F0CC-6F0E-F380-0C7BE70DB482}"/>
              </a:ext>
            </a:extLst>
          </p:cNvPr>
          <p:cNvGrpSpPr/>
          <p:nvPr/>
        </p:nvGrpSpPr>
        <p:grpSpPr>
          <a:xfrm>
            <a:off x="2208927" y="2655409"/>
            <a:ext cx="2260788" cy="4552465"/>
            <a:chOff x="0" y="0"/>
            <a:chExt cx="3929993" cy="7694996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AA1D2B2C-B101-87E8-D25E-A4A1E51ACFB3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BC19D917-EFBA-5DD6-34FB-FFFCBE3412E7}"/>
              </a:ext>
            </a:extLst>
          </p:cNvPr>
          <p:cNvGrpSpPr/>
          <p:nvPr/>
        </p:nvGrpSpPr>
        <p:grpSpPr>
          <a:xfrm>
            <a:off x="4146995" y="4687794"/>
            <a:ext cx="2344725" cy="4552465"/>
            <a:chOff x="0" y="0"/>
            <a:chExt cx="3929993" cy="7694996"/>
          </a:xfrm>
        </p:grpSpPr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AF0C0213-2AB2-1808-3A38-FC6E8D7C4CA5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368364FA-38ED-3BB3-4E54-3E3231BD9AFA}"/>
              </a:ext>
            </a:extLst>
          </p:cNvPr>
          <p:cNvSpPr/>
          <p:nvPr/>
        </p:nvSpPr>
        <p:spPr bwMode="auto">
          <a:xfrm>
            <a:off x="206292" y="404734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FAAA17-2695-0828-0612-A1E54FC51947}"/>
              </a:ext>
            </a:extLst>
          </p:cNvPr>
          <p:cNvSpPr/>
          <p:nvPr/>
        </p:nvSpPr>
        <p:spPr bwMode="auto">
          <a:xfrm>
            <a:off x="5504695" y="528630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031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8597" y="3851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5177" y="186323"/>
            <a:ext cx="1073746" cy="557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CBCF91-43CB-9564-013A-0C466785DA7F}"/>
              </a:ext>
            </a:extLst>
          </p:cNvPr>
          <p:cNvSpPr txBox="1"/>
          <p:nvPr/>
        </p:nvSpPr>
        <p:spPr>
          <a:xfrm>
            <a:off x="2057400" y="4253952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2F280-0DB2-DAA1-F5FF-865DD98FAB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CFF4D36-A2E6-E170-28A0-4F4B21CDB85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es-US" sz="20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unicarse con soporte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7AA23-6DB1-74BE-DBCB-48B5C2DC761B}"/>
              </a:ext>
            </a:extLst>
          </p:cNvPr>
          <p:cNvSpPr txBox="1"/>
          <p:nvPr/>
        </p:nvSpPr>
        <p:spPr>
          <a:xfrm>
            <a:off x="381772" y="3866128"/>
            <a:ext cx="2718344" cy="1348338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es-US" dirty="0">
                <a:latin typeface="Fira Sans" panose="020B0503050000020004" pitchFamily="34" charset="0"/>
              </a:rPr>
              <a:t>Haga clic en los </a:t>
            </a:r>
            <a:r>
              <a:rPr lang="es-US" b="1" dirty="0">
                <a:latin typeface="Fira Sans" panose="020B0503050000020004" pitchFamily="34" charset="0"/>
              </a:rPr>
              <a:t>íconos de Chatear </a:t>
            </a:r>
            <a:r>
              <a:rPr lang="es-US" dirty="0">
                <a:latin typeface="Fira Sans" panose="020B0503050000020004" pitchFamily="34" charset="0"/>
              </a:rPr>
              <a:t>o</a:t>
            </a:r>
            <a:r>
              <a:rPr lang="es-US" b="1" dirty="0">
                <a:latin typeface="Fira Sans" panose="020B0503050000020004" pitchFamily="34" charset="0"/>
              </a:rPr>
              <a:t> Llamar </a:t>
            </a:r>
            <a:r>
              <a:rPr lang="es-US" dirty="0">
                <a:latin typeface="Fira Sans" panose="020B0503050000020004" pitchFamily="34" charset="0"/>
              </a:rPr>
              <a:t>para</a:t>
            </a:r>
            <a:r>
              <a:rPr lang="es-US" b="1" dirty="0">
                <a:latin typeface="Fira Sans" panose="020B0503050000020004" pitchFamily="34" charset="0"/>
              </a:rPr>
              <a:t> </a:t>
            </a:r>
            <a:r>
              <a:rPr lang="es-US" dirty="0">
                <a:latin typeface="Fira Sans" panose="020B0503050000020004" pitchFamily="34" charset="0"/>
              </a:rPr>
              <a:t>enviar un mensaje de texto o llamar al equipo de soporte de </a:t>
            </a:r>
            <a:r>
              <a:rPr lang="es-US" dirty="0" err="1">
                <a:latin typeface="Fira Sans" panose="020B0503050000020004" pitchFamily="34" charset="0"/>
              </a:rPr>
              <a:t>Help</a:t>
            </a:r>
            <a:r>
              <a:rPr lang="es-US" dirty="0">
                <a:latin typeface="Fira Sans" panose="020B0503050000020004" pitchFamily="34" charset="0"/>
              </a:rPr>
              <a:t> at Home si tiene alguna pregunta o problema.</a:t>
            </a:r>
            <a:endParaRPr lang="es-US" b="1" dirty="0">
              <a:latin typeface="Fira Sans" panose="020B05030500000200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EE454F-7609-1498-03ED-49A9CAAFBC3B}"/>
              </a:ext>
            </a:extLst>
          </p:cNvPr>
          <p:cNvSpPr txBox="1"/>
          <p:nvPr/>
        </p:nvSpPr>
        <p:spPr>
          <a:xfrm>
            <a:off x="3694040" y="4216606"/>
            <a:ext cx="2718344" cy="9978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es-US">
                <a:latin typeface="Fira Sans" panose="020B0503050000020004" pitchFamily="34" charset="0"/>
              </a:rPr>
              <a:t>Haga clic en </a:t>
            </a:r>
            <a:r>
              <a:rPr lang="es-US" b="1">
                <a:latin typeface="Fira Sans" panose="020B0503050000020004" pitchFamily="34" charset="0"/>
              </a:rPr>
              <a:t>Centro de ayuda </a:t>
            </a:r>
            <a:r>
              <a:rPr lang="es-US">
                <a:latin typeface="Fira Sans" panose="020B0503050000020004" pitchFamily="34" charset="0"/>
              </a:rPr>
              <a:t>para ver las preguntas frecuentes.</a:t>
            </a:r>
            <a:endParaRPr lang="es-US" b="1">
              <a:latin typeface="Fira Sans" panose="020B05030500000200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BB866CE-F305-6673-8B3D-4FB5489654C1}"/>
              </a:ext>
            </a:extLst>
          </p:cNvPr>
          <p:cNvSpPr txBox="1"/>
          <p:nvPr/>
        </p:nvSpPr>
        <p:spPr>
          <a:xfrm>
            <a:off x="3666197" y="7975703"/>
            <a:ext cx="2718344" cy="124152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es-US" dirty="0">
                <a:latin typeface="Fira Sans"/>
                <a:cs typeface="Arial"/>
              </a:rPr>
              <a:t>Si todavía no consigue una respuesta a su pregunta, haga clic en </a:t>
            </a:r>
            <a:r>
              <a:rPr lang="es-US" b="1" dirty="0">
                <a:latin typeface="Fira Sans"/>
                <a:cs typeface="Arial"/>
              </a:rPr>
              <a:t>Más</a:t>
            </a:r>
            <a:r>
              <a:rPr lang="es-US" dirty="0">
                <a:latin typeface="Fira Sans"/>
                <a:cs typeface="Arial"/>
              </a:rPr>
              <a:t> </a:t>
            </a:r>
            <a:r>
              <a:rPr lang="es-US" b="1" dirty="0">
                <a:latin typeface="Fira Sans"/>
                <a:cs typeface="Arial"/>
              </a:rPr>
              <a:t>soporte</a:t>
            </a:r>
            <a:r>
              <a:rPr lang="es-US" dirty="0">
                <a:latin typeface="Fira Sans"/>
                <a:cs typeface="Arial"/>
              </a:rPr>
              <a:t> para navegar en el Centro de información de </a:t>
            </a:r>
            <a:r>
              <a:rPr lang="es-US" dirty="0" err="1">
                <a:latin typeface="Fira Sans"/>
                <a:cs typeface="Arial"/>
              </a:rPr>
              <a:t>Help</a:t>
            </a:r>
            <a:r>
              <a:rPr lang="es-US" dirty="0">
                <a:latin typeface="Fira Sans"/>
                <a:cs typeface="Arial"/>
              </a:rPr>
              <a:t> at Home y obtener recursos a pedido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D42EC-8150-F1F8-B8A0-4CCE6054370E}"/>
              </a:ext>
            </a:extLst>
          </p:cNvPr>
          <p:cNvSpPr txBox="1"/>
          <p:nvPr/>
        </p:nvSpPr>
        <p:spPr>
          <a:xfrm>
            <a:off x="417812" y="7975703"/>
            <a:ext cx="2686594" cy="124152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es-US" sz="1400">
                <a:latin typeface="Fira Sans"/>
                <a:cs typeface="Arial"/>
              </a:rPr>
              <a:t>El </a:t>
            </a:r>
            <a:r>
              <a:rPr lang="es-US" sz="1400" b="1">
                <a:latin typeface="Fira Sans"/>
                <a:cs typeface="Arial"/>
              </a:rPr>
              <a:t>Clic para llamar</a:t>
            </a:r>
            <a:r>
              <a:rPr lang="es-US" sz="1400">
                <a:latin typeface="Fira Sans"/>
                <a:cs typeface="Arial"/>
              </a:rPr>
              <a:t> está disponible</a:t>
            </a:r>
            <a:r>
              <a:rPr lang="es-US" sz="1400" b="1">
                <a:latin typeface="Fira Sans"/>
                <a:cs typeface="Arial"/>
              </a:rPr>
              <a:t> las 24 horas del día, los 7 días de la semana</a:t>
            </a:r>
            <a:r>
              <a:rPr lang="es-US" sz="1400">
                <a:latin typeface="Fira Sans"/>
                <a:cs typeface="Arial"/>
              </a:rPr>
              <a:t> y el </a:t>
            </a:r>
            <a:r>
              <a:rPr lang="es-US" sz="1400" b="1">
                <a:latin typeface="Fira Sans"/>
                <a:cs typeface="Arial"/>
              </a:rPr>
              <a:t>Clic para chatear</a:t>
            </a:r>
            <a:r>
              <a:rPr lang="es-US" sz="1400">
                <a:latin typeface="Fira Sans"/>
                <a:cs typeface="Arial"/>
              </a:rPr>
              <a:t> está disponible </a:t>
            </a:r>
            <a:r>
              <a:rPr lang="es-US" sz="1400" b="1">
                <a:latin typeface="Fira Sans"/>
                <a:cs typeface="Arial"/>
              </a:rPr>
              <a:t>de lunes a viernes de 8 a. m. a 6 p. m., hora del este.</a:t>
            </a:r>
            <a:endParaRPr lang="es-US" sz="1400">
              <a:latin typeface="Fira Sans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3525DC-70FD-A398-AE62-A9592112F1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8160" y="5251812"/>
            <a:ext cx="1324224" cy="2668575"/>
          </a:xfrm>
          <a:prstGeom prst="round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11323378-B845-96F5-6C59-4F5C2B52A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379" y="5312822"/>
            <a:ext cx="1163836" cy="2541922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EE580E7-9307-CDC1-6AC1-4CC1519D7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72" y="5260797"/>
            <a:ext cx="1324224" cy="2668575"/>
          </a:xfrm>
          <a:prstGeom prst="roundRect">
            <a:avLst/>
          </a:prstGeom>
        </p:spPr>
      </p:pic>
      <p:pic>
        <p:nvPicPr>
          <p:cNvPr id="23" name="Picture 6" descr="A screenshot of a chat&#10;&#10;Description automatically generated">
            <a:extLst>
              <a:ext uri="{FF2B5EF4-FFF2-40B4-BE49-F238E27FC236}">
                <a16:creationId xmlns:a16="http://schemas.microsoft.com/office/drawing/2014/main" id="{DF9D96F3-D1D6-23B9-EBD8-FC26BCF9F985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68" y="5314583"/>
            <a:ext cx="1188876" cy="2539544"/>
          </a:xfrm>
          <a:prstGeom prst="roundRect">
            <a:avLst/>
          </a:prstGeom>
          <a:noFill/>
          <a:ln w="19050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62D9F-8572-8E58-ADA4-D223FCE225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5408" y="1012925"/>
            <a:ext cx="1344211" cy="29435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9518C8C-B858-BD22-80D6-9E1699035C64}"/>
              </a:ext>
            </a:extLst>
          </p:cNvPr>
          <p:cNvSpPr/>
          <p:nvPr/>
        </p:nvSpPr>
        <p:spPr bwMode="auto">
          <a:xfrm flipH="1">
            <a:off x="2755407" y="3223384"/>
            <a:ext cx="1344211" cy="64274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EFCFE13-25F9-86BE-6548-5BAC9BE9FB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1438" y="5260797"/>
            <a:ext cx="1337721" cy="265959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7A940F41-A1EF-FD6D-9937-7CA394AB689E}"/>
              </a:ext>
            </a:extLst>
          </p:cNvPr>
          <p:cNvGrpSpPr/>
          <p:nvPr/>
        </p:nvGrpSpPr>
        <p:grpSpPr>
          <a:xfrm>
            <a:off x="3688843" y="5269782"/>
            <a:ext cx="1299562" cy="2659590"/>
            <a:chOff x="0" y="0"/>
            <a:chExt cx="3201348" cy="659770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2F28185-A6B6-442F-296A-15BD652A91C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/>
              <a:stretch>
                <a:fillRect/>
              </a:stretch>
            </a:blipFill>
          </p:spPr>
          <p:txBody>
            <a:bodyPr/>
            <a:lstStyle/>
            <a:p>
              <a:endParaRPr lang="es-US" dirty="0"/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543FA7B-1D7E-0624-0994-8E293EF8DF0B}"/>
              </a:ext>
            </a:extLst>
          </p:cNvPr>
          <p:cNvSpPr/>
          <p:nvPr/>
        </p:nvSpPr>
        <p:spPr bwMode="auto">
          <a:xfrm flipH="1">
            <a:off x="4440471" y="7472389"/>
            <a:ext cx="360129" cy="37065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281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7949DD-F478-71F3-1ED3-1D97CEC93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5" t="7142" r="19385" b="35199"/>
          <a:stretch/>
        </p:blipFill>
        <p:spPr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4F6336B-84B7-91F3-38B3-5B79A44B43D5}"/>
              </a:ext>
            </a:extLst>
          </p:cNvPr>
          <p:cNvSpPr/>
          <p:nvPr/>
        </p:nvSpPr>
        <p:spPr bwMode="auto"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4697" y="297731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A308C4-5A9A-C15B-B5EB-C2F96FD7BAF9}"/>
              </a:ext>
            </a:extLst>
          </p:cNvPr>
          <p:cNvSpPr txBox="1"/>
          <p:nvPr/>
        </p:nvSpPr>
        <p:spPr>
          <a:xfrm>
            <a:off x="533789" y="6739187"/>
            <a:ext cx="558722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US" sz="320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por usar </a:t>
            </a:r>
            <a:r>
              <a:rPr lang="es-US" sz="3200" i="1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Caregiver Connect</a:t>
            </a:r>
            <a:r>
              <a:rPr lang="es-US" sz="320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!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004D2-7C2D-7983-3EA6-553F0C433220}"/>
              </a:ext>
            </a:extLst>
          </p:cNvPr>
          <p:cNvSpPr txBox="1"/>
          <p:nvPr/>
        </p:nvSpPr>
        <p:spPr>
          <a:xfrm>
            <a:off x="1775811" y="6128448"/>
            <a:ext cx="31031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4400" b="1">
                <a:solidFill>
                  <a:schemeClr val="bg1"/>
                </a:solidFill>
                <a:latin typeface="Fira Sans" panose="020B0503050000020004" pitchFamily="34" charset="0"/>
              </a:rPr>
              <a:t>¡Gracia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F55A5B6-EFBE-EE36-9A95-501D20053C48}"/>
              </a:ext>
            </a:extLst>
          </p:cNvPr>
          <p:cNvSpPr/>
          <p:nvPr/>
        </p:nvSpPr>
        <p:spPr bwMode="auto">
          <a:xfrm>
            <a:off x="-180081" y="461396"/>
            <a:ext cx="3783895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es-US" sz="2000" b="1" i="1">
                <a:solidFill>
                  <a:schemeClr val="tx1"/>
                </a:solidFill>
                <a:latin typeface="Fira Sans" panose="020B0503050000020004" pitchFamily="34" charset="0"/>
              </a:rPr>
              <a:t>Recursos cla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D06840-69CF-E9F8-FB1A-A080CEC49A57}"/>
              </a:ext>
            </a:extLst>
          </p:cNvPr>
          <p:cNvSpPr txBox="1"/>
          <p:nvPr/>
        </p:nvSpPr>
        <p:spPr>
          <a:xfrm>
            <a:off x="468049" y="1633275"/>
            <a:ext cx="5921902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US" sz="1600">
                <a:solidFill>
                  <a:schemeClr val="tx1"/>
                </a:solidFill>
                <a:latin typeface="Fira Sans"/>
                <a:cs typeface="Arial"/>
              </a:rPr>
              <a:t>Descargue Caregiver Connect de Help at Home:</a:t>
            </a: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US" sz="1600" u="sng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Dispositivos Apple</a:t>
            </a:r>
            <a:endParaRPr lang="es-US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US" sz="1600" u="sng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Dispositivos Android</a:t>
            </a:r>
            <a:endParaRPr lang="es-US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US" sz="1600" u="sng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Artículos de soporte en el Centro de información de Help at Home</a:t>
            </a:r>
            <a:endParaRPr lang="es-US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US" sz="1600" u="sng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Videos de demostración de Caregiver Connect de Help at Home</a:t>
            </a:r>
            <a:endParaRPr lang="es-US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s-US" sz="160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30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31BDDE-0ABD-1F62-4464-F28DD708A7EA}"/>
              </a:ext>
            </a:extLst>
          </p:cNvPr>
          <p:cNvGrpSpPr/>
          <p:nvPr/>
        </p:nvGrpSpPr>
        <p:grpSpPr>
          <a:xfrm>
            <a:off x="-206020" y="276025"/>
            <a:ext cx="4491475" cy="1866402"/>
            <a:chOff x="-219924" y="1242558"/>
            <a:chExt cx="4491475" cy="186640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BA14E35-EA04-757C-758B-99AAD7A0B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2" r="8427" b="39888"/>
            <a:stretch/>
          </p:blipFill>
          <p:spPr>
            <a:xfrm>
              <a:off x="-21249" y="1242558"/>
              <a:ext cx="4292800" cy="1866402"/>
            </a:xfrm>
            <a:custGeom>
              <a:avLst/>
              <a:gdLst>
                <a:gd name="connsiteX0" fmla="*/ 0 w 4292800"/>
                <a:gd name="connsiteY0" fmla="*/ 0 h 1866402"/>
                <a:gd name="connsiteX1" fmla="*/ 3981727 w 4292800"/>
                <a:gd name="connsiteY1" fmla="*/ 0 h 1866402"/>
                <a:gd name="connsiteX2" fmla="*/ 4292800 w 4292800"/>
                <a:gd name="connsiteY2" fmla="*/ 311073 h 1866402"/>
                <a:gd name="connsiteX3" fmla="*/ 4292800 w 4292800"/>
                <a:gd name="connsiteY3" fmla="*/ 1555329 h 1866402"/>
                <a:gd name="connsiteX4" fmla="*/ 3981727 w 4292800"/>
                <a:gd name="connsiteY4" fmla="*/ 1866402 h 1866402"/>
                <a:gd name="connsiteX5" fmla="*/ 0 w 4292800"/>
                <a:gd name="connsiteY5" fmla="*/ 1866402 h 186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2800" h="1866402">
                  <a:moveTo>
                    <a:pt x="0" y="0"/>
                  </a:moveTo>
                  <a:lnTo>
                    <a:pt x="3981727" y="0"/>
                  </a:lnTo>
                  <a:cubicBezTo>
                    <a:pt x="4153528" y="0"/>
                    <a:pt x="4292800" y="139272"/>
                    <a:pt x="4292800" y="311073"/>
                  </a:cubicBezTo>
                  <a:lnTo>
                    <a:pt x="4292800" y="1555329"/>
                  </a:lnTo>
                  <a:cubicBezTo>
                    <a:pt x="4292800" y="1727130"/>
                    <a:pt x="4153528" y="1866402"/>
                    <a:pt x="3981727" y="1866402"/>
                  </a:cubicBezTo>
                  <a:lnTo>
                    <a:pt x="0" y="1866402"/>
                  </a:lnTo>
                  <a:close/>
                </a:path>
              </a:pathLst>
            </a:custGeom>
          </p:spPr>
        </p:pic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996E04F-7D1A-CFF4-3AF8-F66C5DC2F7A2}"/>
                </a:ext>
              </a:extLst>
            </p:cNvPr>
            <p:cNvSpPr/>
            <p:nvPr/>
          </p:nvSpPr>
          <p:spPr bwMode="auto">
            <a:xfrm>
              <a:off x="-219924" y="1242558"/>
              <a:ext cx="4491475" cy="1866402"/>
            </a:xfrm>
            <a:prstGeom prst="roundRect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	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5EF939B-8AA2-A99F-6918-C57F811ECE22}"/>
              </a:ext>
            </a:extLst>
          </p:cNvPr>
          <p:cNvSpPr/>
          <p:nvPr/>
        </p:nvSpPr>
        <p:spPr bwMode="auto">
          <a:xfrm>
            <a:off x="3341227" y="2343456"/>
            <a:ext cx="1580206" cy="1183361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es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positivos Apple:</a:t>
            </a:r>
          </a:p>
          <a:p>
            <a:r>
              <a:rPr lang="es-US" sz="1400" b="1" u="sng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¡Haga clic aquí</a:t>
            </a:r>
            <a:endParaRPr lang="es-US" sz="1400" b="1" u="sng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s-US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 escanee a continuación</a:t>
            </a:r>
            <a:r>
              <a:rPr lang="es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42DBEE-1E00-8672-F8B7-232DBAB0FDE1}"/>
              </a:ext>
            </a:extLst>
          </p:cNvPr>
          <p:cNvSpPr txBox="1"/>
          <p:nvPr/>
        </p:nvSpPr>
        <p:spPr>
          <a:xfrm>
            <a:off x="314086" y="886061"/>
            <a:ext cx="391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US" sz="3600" b="1" i="1">
                <a:solidFill>
                  <a:schemeClr val="bg1"/>
                </a:solidFill>
                <a:latin typeface="Fira Sans" panose="020B0503050000020004" pitchFamily="34" charset="0"/>
              </a:rPr>
              <a:t>¡Comencemos!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3F1E8B-823E-040C-851A-2F0959E488A3}"/>
              </a:ext>
            </a:extLst>
          </p:cNvPr>
          <p:cNvSpPr/>
          <p:nvPr/>
        </p:nvSpPr>
        <p:spPr bwMode="auto">
          <a:xfrm>
            <a:off x="-100490" y="2300610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es-US" sz="2000" b="1" i="1">
                <a:solidFill>
                  <a:schemeClr val="tx1"/>
                </a:solidFill>
                <a:latin typeface="Fira Sans" panose="020B0503050000020004" pitchFamily="34" charset="0"/>
              </a:rPr>
              <a:t>Descargar la aplicación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40017353-9244-9854-A798-C5A35831C45B}"/>
              </a:ext>
            </a:extLst>
          </p:cNvPr>
          <p:cNvSpPr/>
          <p:nvPr/>
        </p:nvSpPr>
        <p:spPr bwMode="auto">
          <a:xfrm>
            <a:off x="2808805" y="2173512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US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1</a:t>
            </a:r>
            <a:endParaRPr kumimoji="0" lang="es-US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FE8BF-9284-6A96-1CC2-8178D5D13AA5}"/>
              </a:ext>
            </a:extLst>
          </p:cNvPr>
          <p:cNvSpPr txBox="1"/>
          <p:nvPr/>
        </p:nvSpPr>
        <p:spPr>
          <a:xfrm>
            <a:off x="163789" y="6007840"/>
            <a:ext cx="287361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Ingrese su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orreo electrónico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,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su fecha de nacimiento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 y los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últimos 4 dígitos de su SSN 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y 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ontinuar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Ingrese el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ódigo de 6 dígitos 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que le enviamos a su correo electrónico registrado y 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onfirmar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Cree una contraseña, ingrésela dos veces y 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rear contraseña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algn="l"/>
            <a:endParaRPr lang="es-US" sz="120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algn="l"/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CONSEJO: 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Habilitar Face/TouchID 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para acelerar el inicio de sesión en el futuro.</a:t>
            </a:r>
            <a:endParaRPr lang="es-US" sz="1200" b="1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5A00B-0361-A397-55BA-E6B6B3A82CC4}"/>
              </a:ext>
            </a:extLst>
          </p:cNvPr>
          <p:cNvSpPr txBox="1"/>
          <p:nvPr/>
        </p:nvSpPr>
        <p:spPr>
          <a:xfrm>
            <a:off x="163789" y="3169777"/>
            <a:ext cx="287361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/>
                <a:cs typeface="Arial"/>
              </a:rPr>
              <a:t>Haga clic en el siguiente enlace o escanee los códigos QR de la derecha para descargar la aplicación en su dispositivo Apple o Android.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BB0A3CC-71EE-7633-5AA2-08E333197AAA}"/>
              </a:ext>
            </a:extLst>
          </p:cNvPr>
          <p:cNvSpPr/>
          <p:nvPr/>
        </p:nvSpPr>
        <p:spPr bwMode="auto">
          <a:xfrm>
            <a:off x="-100490" y="5112367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es-US" sz="2000" b="1" i="1">
                <a:solidFill>
                  <a:schemeClr val="tx1"/>
                </a:solidFill>
                <a:latin typeface="Fira Sans" panose="020B0503050000020004" pitchFamily="34" charset="0"/>
              </a:rPr>
              <a:t>Iniciar sesión</a:t>
            </a: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3179DE70-093C-B0E6-EFB6-694974F0EE44}"/>
              </a:ext>
            </a:extLst>
          </p:cNvPr>
          <p:cNvSpPr/>
          <p:nvPr/>
        </p:nvSpPr>
        <p:spPr bwMode="auto">
          <a:xfrm>
            <a:off x="2808805" y="4975654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US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2</a:t>
            </a:r>
            <a:endParaRPr kumimoji="0" lang="es-US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DB889A-AF86-4F09-1795-D03DE2F26C6D}"/>
              </a:ext>
            </a:extLst>
          </p:cNvPr>
          <p:cNvGrpSpPr>
            <a:grpSpLocks noChangeAspect="1"/>
          </p:cNvGrpSpPr>
          <p:nvPr/>
        </p:nvGrpSpPr>
        <p:grpSpPr>
          <a:xfrm>
            <a:off x="3391140" y="5431615"/>
            <a:ext cx="1183361" cy="2430160"/>
            <a:chOff x="6903154" y="4314199"/>
            <a:chExt cx="2127195" cy="43684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8A10F26-7E5F-33EF-6E70-426564FCB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3154" y="4314199"/>
              <a:ext cx="2127195" cy="4368424"/>
            </a:xfrm>
            <a:prstGeom prst="roundRect">
              <a:avLst/>
            </a:prstGeom>
          </p:spPr>
        </p:pic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BDB8A3C-D186-7380-F526-091E89BD0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907" y="4396114"/>
              <a:ext cx="1930114" cy="4176503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085C6C-FC76-24C0-BD0D-0AFCF5EF77AC}"/>
              </a:ext>
            </a:extLst>
          </p:cNvPr>
          <p:cNvGrpSpPr/>
          <p:nvPr/>
        </p:nvGrpSpPr>
        <p:grpSpPr>
          <a:xfrm>
            <a:off x="4358947" y="6065822"/>
            <a:ext cx="1200607" cy="2430160"/>
            <a:chOff x="4231921" y="6065822"/>
            <a:chExt cx="1200607" cy="24301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A65FAEC-D822-FA47-8AAA-05A989504A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9167" y="6065822"/>
              <a:ext cx="1183361" cy="2430160"/>
              <a:chOff x="7084064" y="2608912"/>
              <a:chExt cx="2127195" cy="4368424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4B48FAA-5D6A-A8D3-CF97-93CB61F17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84064" y="2608912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7" name="Picture 2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00D8B13-5BCD-B944-F5BB-83339E310B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4462" y="2705877"/>
                <a:ext cx="1960877" cy="4161453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5F68835-1D19-EB6A-EA84-5EEC36E11DAC}"/>
                </a:ext>
              </a:extLst>
            </p:cNvPr>
            <p:cNvSpPr/>
            <p:nvPr/>
          </p:nvSpPr>
          <p:spPr bwMode="auto">
            <a:xfrm>
              <a:off x="4231921" y="7305872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56936E-5BF3-9B66-AEB9-8B951C1BAD79}"/>
              </a:ext>
            </a:extLst>
          </p:cNvPr>
          <p:cNvGrpSpPr/>
          <p:nvPr/>
        </p:nvGrpSpPr>
        <p:grpSpPr>
          <a:xfrm>
            <a:off x="5343999" y="6853902"/>
            <a:ext cx="1186833" cy="2430160"/>
            <a:chOff x="5343999" y="6853902"/>
            <a:chExt cx="1186833" cy="24301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D8C1AB5-37FF-810A-9AD9-933A573D1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7471" y="6853902"/>
              <a:ext cx="1183361" cy="2430160"/>
              <a:chOff x="9291657" y="2616388"/>
              <a:chExt cx="2127195" cy="436842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DC0D5CE-1C3C-8B19-1517-D8BAEF822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291657" y="2616388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1030" name="Picture 6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F5812E4-3F84-B1D7-2F0F-BAEBA19A2B1D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9612" y="2705876"/>
                <a:ext cx="1957083" cy="4161454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EBBA92-F67D-E709-D686-95C7D45280C3}"/>
                </a:ext>
              </a:extLst>
            </p:cNvPr>
            <p:cNvSpPr/>
            <p:nvPr/>
          </p:nvSpPr>
          <p:spPr bwMode="auto">
            <a:xfrm>
              <a:off x="5343999" y="8876247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2BDB1-40C6-7470-C08A-511A4EB9585D}"/>
                </a:ext>
              </a:extLst>
            </p:cNvPr>
            <p:cNvSpPr/>
            <p:nvPr/>
          </p:nvSpPr>
          <p:spPr bwMode="auto">
            <a:xfrm>
              <a:off x="6192641" y="8160625"/>
              <a:ext cx="262036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F73FCE7-B1AC-700E-A576-14B981BA52E0}"/>
              </a:ext>
            </a:extLst>
          </p:cNvPr>
          <p:cNvSpPr/>
          <p:nvPr/>
        </p:nvSpPr>
        <p:spPr bwMode="auto">
          <a:xfrm>
            <a:off x="4973971" y="2343456"/>
            <a:ext cx="1580206" cy="1183361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es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positivos Android:</a:t>
            </a:r>
          </a:p>
          <a:p>
            <a:r>
              <a:rPr lang="es-US" sz="1400" b="1" u="sng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¡Haga clic aquí</a:t>
            </a:r>
            <a:r>
              <a:rPr lang="es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s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 escanee a continuación!</a:t>
            </a:r>
          </a:p>
        </p:txBody>
      </p:sp>
      <p:pic>
        <p:nvPicPr>
          <p:cNvPr id="25" name="Picture 2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5170B37-D534-C222-E8B0-F35587EE3F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9650" y="3634375"/>
            <a:ext cx="1183361" cy="1183361"/>
          </a:xfrm>
          <a:prstGeom prst="rect">
            <a:avLst/>
          </a:prstGeom>
        </p:spPr>
      </p:pic>
      <p:pic>
        <p:nvPicPr>
          <p:cNvPr id="24" name="Picture 23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E334FD0-BF41-9FC1-1B15-8CAE068723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72394" y="3630101"/>
            <a:ext cx="1183361" cy="118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29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C83402-1FCF-753A-DA89-B17258866E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FC0681B-770C-0242-A364-D26FA10F33FA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es-US" sz="2000" b="1" i="1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bilitar actualizaciones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FBCBEB-6D3E-B0D2-86ED-1969292D2B79}"/>
              </a:ext>
            </a:extLst>
          </p:cNvPr>
          <p:cNvSpPr txBox="1"/>
          <p:nvPr/>
        </p:nvSpPr>
        <p:spPr>
          <a:xfrm>
            <a:off x="176091" y="898946"/>
            <a:ext cx="569336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es-US" sz="1200" b="1">
                <a:solidFill>
                  <a:schemeClr val="tx1"/>
                </a:solidFill>
                <a:latin typeface="Fira Sans"/>
                <a:cs typeface="Arial"/>
              </a:rPr>
              <a:t>Para acceder a futuras mejoras y nuevas funciones, active la actualización automática de la aplicación.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1C9F8E1-E1FD-E03F-1393-6F8904B44608}"/>
              </a:ext>
            </a:extLst>
          </p:cNvPr>
          <p:cNvSpPr/>
          <p:nvPr/>
        </p:nvSpPr>
        <p:spPr bwMode="auto">
          <a:xfrm>
            <a:off x="-101600" y="1729943"/>
            <a:ext cx="2733589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es-US" sz="2000" b="1" i="1">
                <a:solidFill>
                  <a:schemeClr val="tx1"/>
                </a:solidFill>
                <a:latin typeface="Fira Sans" panose="020B0503050000020004" pitchFamily="34" charset="0"/>
              </a:rPr>
              <a:t>Dispositivos Appl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FB16DA-1244-5E16-5FE3-200015F7BFDD}"/>
              </a:ext>
            </a:extLst>
          </p:cNvPr>
          <p:cNvSpPr/>
          <p:nvPr/>
        </p:nvSpPr>
        <p:spPr bwMode="auto">
          <a:xfrm>
            <a:off x="-101601" y="5008131"/>
            <a:ext cx="2733589" cy="630463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es-US" sz="2000" b="1" i="1">
                <a:solidFill>
                  <a:schemeClr val="tx1"/>
                </a:solidFill>
                <a:latin typeface="Fira Sans" panose="020B0503050000020004" pitchFamily="34" charset="0"/>
              </a:rPr>
              <a:t>Dispositivos Androi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48518B-CB0A-8B11-60EB-C89A8707AEDE}"/>
              </a:ext>
            </a:extLst>
          </p:cNvPr>
          <p:cNvSpPr txBox="1"/>
          <p:nvPr/>
        </p:nvSpPr>
        <p:spPr>
          <a:xfrm>
            <a:off x="178380" y="5690935"/>
            <a:ext cx="28736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Abra Google Play Store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Haga clic en el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ícono de su cuenta 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en la esquina superior derecha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onfiguración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Preferencias de red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Seleccione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Actualizar aplicaciones mediante wifi o datos móviles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6F97727-61BE-5CFA-6751-84AD307A0292}"/>
              </a:ext>
            </a:extLst>
          </p:cNvPr>
          <p:cNvGrpSpPr/>
          <p:nvPr/>
        </p:nvGrpSpPr>
        <p:grpSpPr>
          <a:xfrm>
            <a:off x="3006324" y="5182334"/>
            <a:ext cx="1183361" cy="2430160"/>
            <a:chOff x="3006324" y="5036284"/>
            <a:chExt cx="1183361" cy="24301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F9D787-C90C-7B94-DE4D-6432A65AE875}"/>
                </a:ext>
              </a:extLst>
            </p:cNvPr>
            <p:cNvGrpSpPr/>
            <p:nvPr/>
          </p:nvGrpSpPr>
          <p:grpSpPr>
            <a:xfrm>
              <a:off x="3006324" y="5036284"/>
              <a:ext cx="1183361" cy="2430160"/>
              <a:chOff x="3006324" y="5036284"/>
              <a:chExt cx="1183361" cy="2430160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2B153FED-F80C-F786-1059-4787E8929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1" name="Picture 6">
                <a:extLst>
                  <a:ext uri="{FF2B5EF4-FFF2-40B4-BE49-F238E27FC236}">
                    <a16:creationId xmlns:a16="http://schemas.microsoft.com/office/drawing/2014/main" id="{2C255113-ABE6-2C2D-78BB-DEECDD544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5752" y="5090973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E9A4737-11A4-4651-9938-61A52510B637}"/>
                </a:ext>
              </a:extLst>
            </p:cNvPr>
            <p:cNvSpPr/>
            <p:nvPr/>
          </p:nvSpPr>
          <p:spPr bwMode="auto">
            <a:xfrm>
              <a:off x="3874258" y="5142445"/>
              <a:ext cx="255240" cy="24244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E3BA821-86EF-FAF7-EFAA-52C100683525}"/>
              </a:ext>
            </a:extLst>
          </p:cNvPr>
          <p:cNvGrpSpPr/>
          <p:nvPr/>
        </p:nvGrpSpPr>
        <p:grpSpPr>
          <a:xfrm>
            <a:off x="3826429" y="5582700"/>
            <a:ext cx="1183361" cy="2430160"/>
            <a:chOff x="3826429" y="5485333"/>
            <a:chExt cx="1183361" cy="243016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8995A-2CC5-3ACC-6080-98C1B227D8AC}"/>
                </a:ext>
              </a:extLst>
            </p:cNvPr>
            <p:cNvGrpSpPr/>
            <p:nvPr/>
          </p:nvGrpSpPr>
          <p:grpSpPr>
            <a:xfrm>
              <a:off x="3826429" y="5485333"/>
              <a:ext cx="1183361" cy="2430160"/>
              <a:chOff x="3158724" y="5188684"/>
              <a:chExt cx="1183361" cy="2430160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49BFF0CC-635D-C33C-0550-C94EF0CABA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158724" y="51886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52B0643-F5F4-A447-D878-F937B3878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3233" y="5238822"/>
                <a:ext cx="1073083" cy="2325334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235C17-5ED2-0196-EF6A-A6555253BBF8}"/>
                </a:ext>
              </a:extLst>
            </p:cNvPr>
            <p:cNvSpPr/>
            <p:nvPr/>
          </p:nvSpPr>
          <p:spPr bwMode="auto">
            <a:xfrm>
              <a:off x="3909504" y="7371732"/>
              <a:ext cx="595752" cy="24826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E3DDAB4-0E87-1474-C721-AB01163B26D4}"/>
              </a:ext>
            </a:extLst>
          </p:cNvPr>
          <p:cNvGrpSpPr/>
          <p:nvPr/>
        </p:nvGrpSpPr>
        <p:grpSpPr>
          <a:xfrm>
            <a:off x="4575839" y="5983066"/>
            <a:ext cx="1254056" cy="2430160"/>
            <a:chOff x="4575839" y="5934382"/>
            <a:chExt cx="1254056" cy="243016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DE8710C-AE36-D9C0-7F62-AD38792DB60A}"/>
                </a:ext>
              </a:extLst>
            </p:cNvPr>
            <p:cNvGrpSpPr/>
            <p:nvPr/>
          </p:nvGrpSpPr>
          <p:grpSpPr>
            <a:xfrm>
              <a:off x="4646534" y="5934382"/>
              <a:ext cx="1183361" cy="2430160"/>
              <a:chOff x="4076365" y="5860850"/>
              <a:chExt cx="1183361" cy="243016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7A59B22-4EA8-330E-284C-273215B85B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365" y="5860850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766949BD-870B-EB33-DFF5-6D49FB3D9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087" y="5908489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2CFBDE2-EE8B-CE25-5622-E05A73D060A0}"/>
                </a:ext>
              </a:extLst>
            </p:cNvPr>
            <p:cNvSpPr/>
            <p:nvPr/>
          </p:nvSpPr>
          <p:spPr bwMode="auto">
            <a:xfrm>
              <a:off x="4575839" y="6488645"/>
              <a:ext cx="964865" cy="23600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506B81-B149-73A2-852E-68981B63F2C5}"/>
              </a:ext>
            </a:extLst>
          </p:cNvPr>
          <p:cNvGrpSpPr/>
          <p:nvPr/>
        </p:nvGrpSpPr>
        <p:grpSpPr>
          <a:xfrm>
            <a:off x="5466639" y="6383432"/>
            <a:ext cx="1183361" cy="2430160"/>
            <a:chOff x="5466639" y="6383432"/>
            <a:chExt cx="1183361" cy="243016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288DD5A-DADA-8E44-EC0D-F7B99B7DEC66}"/>
                </a:ext>
              </a:extLst>
            </p:cNvPr>
            <p:cNvGrpSpPr/>
            <p:nvPr/>
          </p:nvGrpSpPr>
          <p:grpSpPr>
            <a:xfrm>
              <a:off x="5466639" y="6383432"/>
              <a:ext cx="1183361" cy="2430160"/>
              <a:chOff x="3463524" y="5493484"/>
              <a:chExt cx="1183361" cy="243016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74C1BF5-7BBE-57C8-61F7-85E8E557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463524" y="54934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958303F-75E5-9240-394A-CFF9D50301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2648" y="5543858"/>
                <a:ext cx="1073437" cy="2326101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355D3E5-0960-5591-5719-AC5FFB07CF5B}"/>
                </a:ext>
              </a:extLst>
            </p:cNvPr>
            <p:cNvSpPr/>
            <p:nvPr/>
          </p:nvSpPr>
          <p:spPr bwMode="auto">
            <a:xfrm>
              <a:off x="6369049" y="6828927"/>
              <a:ext cx="226441" cy="240653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90DBB860-A321-A713-0591-D3DFB37A94A4}"/>
              </a:ext>
            </a:extLst>
          </p:cNvPr>
          <p:cNvSpPr txBox="1"/>
          <p:nvPr/>
        </p:nvSpPr>
        <p:spPr>
          <a:xfrm>
            <a:off x="174277" y="2228081"/>
            <a:ext cx="28736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Abra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Configuración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Haga clic en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App Store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  <a:p>
            <a:pPr marL="228600" indent="-228600" algn="l">
              <a:buAutoNum type="arabicPeriod"/>
            </a:pP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Active </a:t>
            </a:r>
            <a:r>
              <a:rPr lang="es-US" sz="1200" b="1">
                <a:solidFill>
                  <a:schemeClr val="tx1"/>
                </a:solidFill>
                <a:latin typeface="Fira Sans" panose="020B0503050000020004" pitchFamily="34" charset="0"/>
              </a:rPr>
              <a:t>Actualizaciones de aplicaciones</a:t>
            </a:r>
            <a:r>
              <a:rPr lang="es-US" sz="120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98A2D897-9448-8C18-B6EA-1567F5E00355}"/>
              </a:ext>
            </a:extLst>
          </p:cNvPr>
          <p:cNvGrpSpPr/>
          <p:nvPr/>
        </p:nvGrpSpPr>
        <p:grpSpPr>
          <a:xfrm>
            <a:off x="3006324" y="1728376"/>
            <a:ext cx="1183361" cy="2430160"/>
            <a:chOff x="3006324" y="1728376"/>
            <a:chExt cx="1183361" cy="243016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ADCA0C5-184A-5459-B8C7-794D8DD6A09B}"/>
                </a:ext>
              </a:extLst>
            </p:cNvPr>
            <p:cNvGrpSpPr/>
            <p:nvPr/>
          </p:nvGrpSpPr>
          <p:grpSpPr>
            <a:xfrm>
              <a:off x="3006324" y="1728376"/>
              <a:ext cx="1183361" cy="2430160"/>
              <a:chOff x="3006324" y="5036284"/>
              <a:chExt cx="1183361" cy="243016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DBBC306-D689-5D32-73FA-7E6B7E9E3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E2C3793-EF48-B692-91EB-ACDF6A69B40A}"/>
                  </a:ext>
                </a:extLst>
              </p:cNvPr>
              <p:cNvSpPr/>
              <p:nvPr/>
            </p:nvSpPr>
            <p:spPr bwMode="auto">
              <a:xfrm>
                <a:off x="3698809" y="5830244"/>
                <a:ext cx="255240" cy="24244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18288" bIns="1828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US" sz="1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45" name="Picture 20">
              <a:extLst>
                <a:ext uri="{FF2B5EF4-FFF2-40B4-BE49-F238E27FC236}">
                  <a16:creationId xmlns:a16="http://schemas.microsoft.com/office/drawing/2014/main" id="{B8074CA0-EF87-81C5-67FE-83FE3B2509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595" y="1777693"/>
              <a:ext cx="1073808" cy="2324407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8" name="Oval 1047">
            <a:extLst>
              <a:ext uri="{FF2B5EF4-FFF2-40B4-BE49-F238E27FC236}">
                <a16:creationId xmlns:a16="http://schemas.microsoft.com/office/drawing/2014/main" id="{8AD44D82-B2E6-1632-58C8-CDBD2717A37A}"/>
              </a:ext>
            </a:extLst>
          </p:cNvPr>
          <p:cNvSpPr/>
          <p:nvPr/>
        </p:nvSpPr>
        <p:spPr bwMode="auto">
          <a:xfrm>
            <a:off x="3309098" y="2730423"/>
            <a:ext cx="333942" cy="32392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27C238C-C902-CD59-056C-9ABFCAA5E26D}"/>
              </a:ext>
            </a:extLst>
          </p:cNvPr>
          <p:cNvGrpSpPr/>
          <p:nvPr/>
        </p:nvGrpSpPr>
        <p:grpSpPr>
          <a:xfrm>
            <a:off x="3826429" y="2128742"/>
            <a:ext cx="1183361" cy="2430160"/>
            <a:chOff x="3826429" y="2128742"/>
            <a:chExt cx="1183361" cy="243016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04D43D1-888C-3A27-2E05-6276388FC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6429" y="2128742"/>
              <a:ext cx="1183361" cy="2430160"/>
            </a:xfrm>
            <a:prstGeom prst="roundRect">
              <a:avLst/>
            </a:prstGeom>
          </p:spPr>
        </p:pic>
        <p:pic>
          <p:nvPicPr>
            <p:cNvPr id="1041" name="Picture 12">
              <a:extLst>
                <a:ext uri="{FF2B5EF4-FFF2-40B4-BE49-F238E27FC236}">
                  <a16:creationId xmlns:a16="http://schemas.microsoft.com/office/drawing/2014/main" id="{62AE96FA-CFB0-F683-4DE1-66C736536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2428" y="2186198"/>
              <a:ext cx="1061593" cy="2297965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Oval 1048">
            <a:extLst>
              <a:ext uri="{FF2B5EF4-FFF2-40B4-BE49-F238E27FC236}">
                <a16:creationId xmlns:a16="http://schemas.microsoft.com/office/drawing/2014/main" id="{1291A38B-42E1-7487-762F-613872657352}"/>
              </a:ext>
            </a:extLst>
          </p:cNvPr>
          <p:cNvSpPr/>
          <p:nvPr/>
        </p:nvSpPr>
        <p:spPr bwMode="auto">
          <a:xfrm>
            <a:off x="3881136" y="2441247"/>
            <a:ext cx="1128653" cy="17925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8A6C3350-5080-CDE1-7632-E72AF64F003F}"/>
              </a:ext>
            </a:extLst>
          </p:cNvPr>
          <p:cNvGrpSpPr/>
          <p:nvPr/>
        </p:nvGrpSpPr>
        <p:grpSpPr>
          <a:xfrm>
            <a:off x="4646534" y="2529108"/>
            <a:ext cx="1183361" cy="2430160"/>
            <a:chOff x="4646534" y="2529108"/>
            <a:chExt cx="1183361" cy="2430160"/>
          </a:xfrm>
        </p:grpSpPr>
        <p:pic>
          <p:nvPicPr>
            <p:cNvPr id="1031" name="Picture 1030">
              <a:extLst>
                <a:ext uri="{FF2B5EF4-FFF2-40B4-BE49-F238E27FC236}">
                  <a16:creationId xmlns:a16="http://schemas.microsoft.com/office/drawing/2014/main" id="{C627BC50-7696-8224-BC3B-16E802556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6534" y="2529108"/>
              <a:ext cx="1183361" cy="2430160"/>
            </a:xfrm>
            <a:prstGeom prst="roundRect">
              <a:avLst/>
            </a:prstGeom>
          </p:spPr>
        </p:pic>
        <p:pic>
          <p:nvPicPr>
            <p:cNvPr id="1044" name="Picture 18">
              <a:extLst>
                <a:ext uri="{FF2B5EF4-FFF2-40B4-BE49-F238E27FC236}">
                  <a16:creationId xmlns:a16="http://schemas.microsoft.com/office/drawing/2014/main" id="{7910BD21-1D23-B7CB-51BD-42F9F6D31B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155" y="2575717"/>
              <a:ext cx="1086168" cy="235116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1" name="Oval 1050">
            <a:extLst>
              <a:ext uri="{FF2B5EF4-FFF2-40B4-BE49-F238E27FC236}">
                <a16:creationId xmlns:a16="http://schemas.microsoft.com/office/drawing/2014/main" id="{92B35A18-8B4C-B0BC-E2F7-223A34259FF9}"/>
              </a:ext>
            </a:extLst>
          </p:cNvPr>
          <p:cNvSpPr/>
          <p:nvPr/>
        </p:nvSpPr>
        <p:spPr bwMode="auto">
          <a:xfrm>
            <a:off x="4673863" y="3751298"/>
            <a:ext cx="1128653" cy="24306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88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67569" y="-10248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D9341741-A76C-95EB-0538-7BB1EB314405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512932E0-8D4B-8D50-711D-2F49C8A67F9F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256BD47D-C2AB-3341-1B6E-3424400F5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1E9B0-C5D3-C394-4D73-9AB5CCA6BFBA}"/>
              </a:ext>
            </a:extLst>
          </p:cNvPr>
          <p:cNvGrpSpPr/>
          <p:nvPr/>
        </p:nvGrpSpPr>
        <p:grpSpPr>
          <a:xfrm>
            <a:off x="-146310" y="316634"/>
            <a:ext cx="6520377" cy="1865379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AD165D3D-8493-469A-16B1-C458DB625BD6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s-US" sz="2400" b="1">
                  <a:solidFill>
                    <a:srgbClr val="FFFFFF"/>
                  </a:solidFill>
                  <a:latin typeface="Fira Sans Bold"/>
                </a:rPr>
                <a:t>Navegar por su página de inicio...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ECC606-96E5-141A-E55D-10C1485A1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9B3D4770-4EB1-EA66-E640-3306F83324FD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s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B58F9A6-A42B-781F-1D5A-B59576AA6494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121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s-US" sz="3600" b="1" i="1">
                  <a:solidFill>
                    <a:schemeClr val="bg1"/>
                  </a:solidFill>
                  <a:latin typeface="Fira Sans" panose="020B0503050000020004" pitchFamily="34" charset="0"/>
                </a:rPr>
                <a:t>Conozca su </a:t>
              </a:r>
            </a:p>
            <a:p>
              <a:pPr algn="l"/>
              <a:r>
                <a:rPr lang="es-US" sz="3600" b="1" i="1">
                  <a:solidFill>
                    <a:schemeClr val="bg1"/>
                  </a:solidFill>
                  <a:latin typeface="Fira Sans" panose="020B0503050000020004" pitchFamily="34" charset="0"/>
                </a:rPr>
                <a:t>página de inicio...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D985844-5007-4D31-EE6B-271CF4FC6697}"/>
              </a:ext>
            </a:extLst>
          </p:cNvPr>
          <p:cNvGrpSpPr/>
          <p:nvPr/>
        </p:nvGrpSpPr>
        <p:grpSpPr>
          <a:xfrm>
            <a:off x="3475112" y="5492734"/>
            <a:ext cx="3017910" cy="584775"/>
            <a:chOff x="3475112" y="5530279"/>
            <a:chExt cx="3017910" cy="584775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801896B-D4A4-9402-BE85-7614B04B6786}"/>
                </a:ext>
              </a:extLst>
            </p:cNvPr>
            <p:cNvSpPr txBox="1"/>
            <p:nvPr/>
          </p:nvSpPr>
          <p:spPr>
            <a:xfrm>
              <a:off x="4000056" y="5530279"/>
              <a:ext cx="2492966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>
                  <a:latin typeface="+mj-lt"/>
                  <a:cs typeface="Arial"/>
                </a:rPr>
                <a:t>Ver perfil y actualizar número de teléfono</a:t>
              </a:r>
              <a:endParaRPr lang="es-US" sz="1600" i="1">
                <a:latin typeface="+mj-lt"/>
                <a:cs typeface="Arial"/>
              </a:endParaRPr>
            </a:p>
          </p:txBody>
        </p:sp>
        <p:pic>
          <p:nvPicPr>
            <p:cNvPr id="21" name="Picture 20" descr="A blue circle with a black background&#10;&#10;Description automatically generated">
              <a:extLst>
                <a:ext uri="{FF2B5EF4-FFF2-40B4-BE49-F238E27FC236}">
                  <a16:creationId xmlns:a16="http://schemas.microsoft.com/office/drawing/2014/main" id="{C42C4BFE-D913-19B8-1DCD-69CC56E1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75112" y="5568668"/>
              <a:ext cx="512230" cy="507996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33FBDF30-F486-DB99-1720-AB49F8CD8902}"/>
              </a:ext>
            </a:extLst>
          </p:cNvPr>
          <p:cNvSpPr txBox="1"/>
          <p:nvPr/>
        </p:nvSpPr>
        <p:spPr>
          <a:xfrm>
            <a:off x="4057717" y="3626100"/>
            <a:ext cx="2732713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es-US" sz="1600" b="1" i="1" dirty="0">
                <a:latin typeface="+mj-lt"/>
                <a:cs typeface="Arial"/>
              </a:rPr>
              <a:t>Notificaciones en la aplicación casi en tiempo real</a:t>
            </a:r>
            <a:endParaRPr lang="es-US" sz="1600" i="1" dirty="0">
              <a:latin typeface="+mj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BC6B7C-0997-6994-042F-1E6EEE98B99B}"/>
              </a:ext>
            </a:extLst>
          </p:cNvPr>
          <p:cNvGrpSpPr/>
          <p:nvPr/>
        </p:nvGrpSpPr>
        <p:grpSpPr>
          <a:xfrm>
            <a:off x="3477229" y="4853025"/>
            <a:ext cx="3452355" cy="507996"/>
            <a:chOff x="3477229" y="4860010"/>
            <a:chExt cx="3452355" cy="5079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48B534-864E-6BCD-9EAA-2E9D6279B097}"/>
                </a:ext>
              </a:extLst>
            </p:cNvPr>
            <p:cNvSpPr txBox="1"/>
            <p:nvPr/>
          </p:nvSpPr>
          <p:spPr>
            <a:xfrm>
              <a:off x="4000056" y="4944731"/>
              <a:ext cx="2929528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>
                  <a:latin typeface="+mj-lt"/>
                  <a:cs typeface="Arial"/>
                </a:rPr>
                <a:t>Ver clientes asignados</a:t>
              </a:r>
              <a:endParaRPr lang="es-US" sz="1600" i="1">
                <a:latin typeface="+mj-lt"/>
                <a:cs typeface="Arial"/>
              </a:endParaRPr>
            </a:p>
          </p:txBody>
        </p:sp>
        <p:pic>
          <p:nvPicPr>
            <p:cNvPr id="46" name="Picture 45" descr="A blue circle with black and grey outline of people&#10;&#10;Description automatically generated">
              <a:extLst>
                <a:ext uri="{FF2B5EF4-FFF2-40B4-BE49-F238E27FC236}">
                  <a16:creationId xmlns:a16="http://schemas.microsoft.com/office/drawing/2014/main" id="{B4157870-0478-F18A-435C-6038809B8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77229" y="4860010"/>
              <a:ext cx="507996" cy="50799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1DD0402-A793-3224-B294-FBD14471ECC6}"/>
              </a:ext>
            </a:extLst>
          </p:cNvPr>
          <p:cNvGrpSpPr/>
          <p:nvPr/>
        </p:nvGrpSpPr>
        <p:grpSpPr>
          <a:xfrm>
            <a:off x="3476412" y="6837619"/>
            <a:ext cx="2673360" cy="584775"/>
            <a:chOff x="3396497" y="6241966"/>
            <a:chExt cx="2673360" cy="58477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BED727F-4103-F52F-279E-9F39DB6B81BD}"/>
                </a:ext>
              </a:extLst>
            </p:cNvPr>
            <p:cNvSpPr txBox="1"/>
            <p:nvPr/>
          </p:nvSpPr>
          <p:spPr>
            <a:xfrm>
              <a:off x="3923329" y="6241966"/>
              <a:ext cx="214652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>
                  <a:latin typeface="+mj-lt"/>
                  <a:cs typeface="Arial"/>
                </a:rPr>
                <a:t>Contactar al soporte de Help at Home</a:t>
              </a:r>
              <a:endParaRPr lang="es-US" sz="1600" i="1">
                <a:latin typeface="+mj-lt"/>
                <a:cs typeface="Arial"/>
              </a:endParaRPr>
            </a:p>
          </p:txBody>
        </p:sp>
        <p:pic>
          <p:nvPicPr>
            <p:cNvPr id="60" name="Picture 59" descr="A phone logo in a circle&#10;&#10;Description automatically generated">
              <a:extLst>
                <a:ext uri="{FF2B5EF4-FFF2-40B4-BE49-F238E27FC236}">
                  <a16:creationId xmlns:a16="http://schemas.microsoft.com/office/drawing/2014/main" id="{A2C8C99A-493B-A27B-8FDD-A425D5B7F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96497" y="6289464"/>
              <a:ext cx="521332" cy="52133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4BD83B-8AC2-F743-3C63-C178005B7391}"/>
              </a:ext>
            </a:extLst>
          </p:cNvPr>
          <p:cNvSpPr txBox="1"/>
          <p:nvPr/>
        </p:nvSpPr>
        <p:spPr>
          <a:xfrm>
            <a:off x="4003244" y="6276907"/>
            <a:ext cx="214652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es-US" sz="1600" b="1" i="1">
                <a:latin typeface="+mj-lt"/>
                <a:cs typeface="Arial"/>
              </a:rPr>
              <a:t>Ver cronograma</a:t>
            </a:r>
            <a:endParaRPr lang="es-US" sz="1600" i="1">
              <a:latin typeface="+mj-lt"/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A669A76-5F30-44A1-06C9-54228F892F3E}"/>
              </a:ext>
            </a:extLst>
          </p:cNvPr>
          <p:cNvGrpSpPr/>
          <p:nvPr/>
        </p:nvGrpSpPr>
        <p:grpSpPr>
          <a:xfrm>
            <a:off x="3477229" y="4253918"/>
            <a:ext cx="3104488" cy="584775"/>
            <a:chOff x="3324829" y="4101518"/>
            <a:chExt cx="3104488" cy="584775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DAF53C-4A3E-15E9-9B76-B03813E492C2}"/>
                </a:ext>
              </a:extLst>
            </p:cNvPr>
            <p:cNvSpPr txBox="1"/>
            <p:nvPr/>
          </p:nvSpPr>
          <p:spPr>
            <a:xfrm>
              <a:off x="3873763" y="4101518"/>
              <a:ext cx="2555554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>
                  <a:latin typeface="+mj-lt"/>
                  <a:cs typeface="Arial"/>
                </a:rPr>
                <a:t>Ver y descargar recibos de sueldo</a:t>
              </a:r>
              <a:endParaRPr lang="es-US" sz="1600" i="1">
                <a:latin typeface="+mj-lt"/>
                <a:cs typeface="Arial"/>
              </a:endParaRPr>
            </a:p>
          </p:txBody>
        </p:sp>
        <p:pic>
          <p:nvPicPr>
            <p:cNvPr id="43" name="Picture 42" descr="A black and white circle with a wallet and cards in it&#10;&#10;Description automatically generated">
              <a:extLst>
                <a:ext uri="{FF2B5EF4-FFF2-40B4-BE49-F238E27FC236}">
                  <a16:creationId xmlns:a16="http://schemas.microsoft.com/office/drawing/2014/main" id="{6293700D-54C0-2202-6500-D88BF46AA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4829" y="4101518"/>
              <a:ext cx="507996" cy="507996"/>
            </a:xfrm>
            <a:prstGeom prst="rect">
              <a:avLst/>
            </a:prstGeom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D77EDF2-66D2-608D-3766-CA324A500A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8867" y="3654811"/>
            <a:ext cx="507997" cy="50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4145203-BADB-524A-BD2D-20ED8A2D1E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81035" y="6193724"/>
            <a:ext cx="519021" cy="521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6CA904-9B58-AFC8-6E2A-1C3FD4BD8E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2476" y="2670418"/>
            <a:ext cx="2820591" cy="5211764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F57B4E21-4B37-AF53-4C25-0C1F34FB37F6}"/>
              </a:ext>
            </a:extLst>
          </p:cNvPr>
          <p:cNvGrpSpPr/>
          <p:nvPr/>
        </p:nvGrpSpPr>
        <p:grpSpPr>
          <a:xfrm>
            <a:off x="2653258" y="3102617"/>
            <a:ext cx="526591" cy="357561"/>
            <a:chOff x="0" y="0"/>
            <a:chExt cx="751051" cy="342834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ED3652B-F704-6C34-6A44-07BF1FB9FDD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144E0CF5-28B4-C0AF-49AB-8118FCCB9C2B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30" name="Group 16">
            <a:extLst>
              <a:ext uri="{FF2B5EF4-FFF2-40B4-BE49-F238E27FC236}">
                <a16:creationId xmlns:a16="http://schemas.microsoft.com/office/drawing/2014/main" id="{EA6EE337-F3B8-7DA8-FF81-5A67D71E8558}"/>
              </a:ext>
            </a:extLst>
          </p:cNvPr>
          <p:cNvGrpSpPr/>
          <p:nvPr/>
        </p:nvGrpSpPr>
        <p:grpSpPr>
          <a:xfrm>
            <a:off x="627242" y="3555661"/>
            <a:ext cx="2474082" cy="930827"/>
            <a:chOff x="0" y="0"/>
            <a:chExt cx="751051" cy="342834"/>
          </a:xfrm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84CE3576-E093-2AFE-A826-DFC80D874677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32" name="TextBox 18">
              <a:extLst>
                <a:ext uri="{FF2B5EF4-FFF2-40B4-BE49-F238E27FC236}">
                  <a16:creationId xmlns:a16="http://schemas.microsoft.com/office/drawing/2014/main" id="{964C1AA1-7C5C-A778-44AB-3AB4BFDD1784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0" name="Group 16">
            <a:extLst>
              <a:ext uri="{FF2B5EF4-FFF2-40B4-BE49-F238E27FC236}">
                <a16:creationId xmlns:a16="http://schemas.microsoft.com/office/drawing/2014/main" id="{489B8539-E729-7C17-7AF3-9994D8A8FAEE}"/>
              </a:ext>
            </a:extLst>
          </p:cNvPr>
          <p:cNvGrpSpPr/>
          <p:nvPr/>
        </p:nvGrpSpPr>
        <p:grpSpPr>
          <a:xfrm>
            <a:off x="1874206" y="4645282"/>
            <a:ext cx="1214909" cy="758328"/>
            <a:chOff x="0" y="0"/>
            <a:chExt cx="751051" cy="342834"/>
          </a:xfrm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E32CE30F-4ED8-EDF7-B441-3465925A4181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3A398106-709B-82FB-AF3D-0EF12A5860E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4804B38A-BEA4-BA4F-ECEA-EC4F9DA417E8}"/>
              </a:ext>
            </a:extLst>
          </p:cNvPr>
          <p:cNvGrpSpPr/>
          <p:nvPr/>
        </p:nvGrpSpPr>
        <p:grpSpPr>
          <a:xfrm>
            <a:off x="605730" y="5525098"/>
            <a:ext cx="2474082" cy="815166"/>
            <a:chOff x="0" y="0"/>
            <a:chExt cx="751051" cy="342834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24FF809-FF1B-9588-618A-1FF5F60A5875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13" name="TextBox 18">
              <a:extLst>
                <a:ext uri="{FF2B5EF4-FFF2-40B4-BE49-F238E27FC236}">
                  <a16:creationId xmlns:a16="http://schemas.microsoft.com/office/drawing/2014/main" id="{FE2417AE-3F67-DA49-200F-7CA8C0F102AC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DF640064-11CE-BE66-D9A7-65CC7A4CE927}"/>
              </a:ext>
            </a:extLst>
          </p:cNvPr>
          <p:cNvGrpSpPr/>
          <p:nvPr/>
        </p:nvGrpSpPr>
        <p:grpSpPr>
          <a:xfrm>
            <a:off x="637165" y="6615461"/>
            <a:ext cx="2474082" cy="950870"/>
            <a:chOff x="0" y="0"/>
            <a:chExt cx="751051" cy="342834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F081B77-0A8B-90FE-FA6E-FE0AA0D9E65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29" name="TextBox 18">
              <a:extLst>
                <a:ext uri="{FF2B5EF4-FFF2-40B4-BE49-F238E27FC236}">
                  <a16:creationId xmlns:a16="http://schemas.microsoft.com/office/drawing/2014/main" id="{0B3D2B62-21C2-0DD8-2432-7905FFEB1C1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A8501D5A-59FA-0B7E-96A3-3BF172CE8349}"/>
              </a:ext>
            </a:extLst>
          </p:cNvPr>
          <p:cNvGrpSpPr/>
          <p:nvPr/>
        </p:nvGrpSpPr>
        <p:grpSpPr>
          <a:xfrm>
            <a:off x="561217" y="4635422"/>
            <a:ext cx="1169755" cy="758328"/>
            <a:chOff x="0" y="0"/>
            <a:chExt cx="751051" cy="342834"/>
          </a:xfrm>
        </p:grpSpPr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1D78CE0-49E9-C4FA-B649-6089D27DDEAF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11827A84-0328-3BB2-90C7-F64810B84F39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279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FB38-1700-11DC-319D-55F1D5402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7A632A-6ECE-27B5-EC1D-0C331AFF8AFF}"/>
              </a:ext>
            </a:extLst>
          </p:cNvPr>
          <p:cNvSpPr/>
          <p:nvPr/>
        </p:nvSpPr>
        <p:spPr bwMode="auto">
          <a:xfrm>
            <a:off x="50294" y="-486495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3DC8C1-B5B4-115C-BE78-B08D152B5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1D63C6FD-5720-C142-5482-555FEF2D6102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32E2D124-F4E1-67EB-65EB-FF03F6F353B1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FFCAA82-4C95-2961-C01F-1D31410EB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5593171-F5D2-69EB-670C-078CB133A0D3}"/>
              </a:ext>
            </a:extLst>
          </p:cNvPr>
          <p:cNvGrpSpPr/>
          <p:nvPr/>
        </p:nvGrpSpPr>
        <p:grpSpPr>
          <a:xfrm>
            <a:off x="-146310" y="316635"/>
            <a:ext cx="6390135" cy="1745696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10C29231-57D5-C958-E986-084606DA8865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s-US" sz="2400" b="1">
                  <a:solidFill>
                    <a:srgbClr val="FFFFFF"/>
                  </a:solidFill>
                  <a:latin typeface="Fira Sans Bold"/>
                </a:rPr>
                <a:t>Navegar por su página de inicio...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C6B0B8-F417-2DA0-8D03-E71174888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AA22357A-E14E-64D5-8886-0B6490C66BC1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s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125844-1CD6-53F9-2935-A025D367A49F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653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s-US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Notificaciones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CBFFF84-037F-6766-8C85-785A25F1E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3471" y="2312632"/>
            <a:ext cx="2259139" cy="4485332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3A221904-E5C8-DA73-4650-A4D151B3A235}"/>
              </a:ext>
            </a:extLst>
          </p:cNvPr>
          <p:cNvGrpSpPr/>
          <p:nvPr/>
        </p:nvGrpSpPr>
        <p:grpSpPr>
          <a:xfrm>
            <a:off x="2164080" y="2577833"/>
            <a:ext cx="487262" cy="511899"/>
            <a:chOff x="0" y="-47625"/>
            <a:chExt cx="751051" cy="390459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BD28251-874D-73DB-A00D-AEC6F1C152AC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5C672F3A-93DE-2226-FCDF-4EF7925CEA40}"/>
                </a:ext>
              </a:extLst>
            </p:cNvPr>
            <p:cNvSpPr txBox="1"/>
            <p:nvPr/>
          </p:nvSpPr>
          <p:spPr>
            <a:xfrm>
              <a:off x="0" y="-47625"/>
              <a:ext cx="751051" cy="34283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02D07B0-8853-DFF7-80B0-4ED07D662359}"/>
              </a:ext>
            </a:extLst>
          </p:cNvPr>
          <p:cNvGrpSpPr/>
          <p:nvPr/>
        </p:nvGrpSpPr>
        <p:grpSpPr>
          <a:xfrm>
            <a:off x="3374482" y="5345082"/>
            <a:ext cx="2553030" cy="523220"/>
            <a:chOff x="3690378" y="3497871"/>
            <a:chExt cx="3303894" cy="58464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5FC00C4-4956-51A4-3D76-3B39D742391E}"/>
                </a:ext>
              </a:extLst>
            </p:cNvPr>
            <p:cNvSpPr txBox="1"/>
            <p:nvPr/>
          </p:nvSpPr>
          <p:spPr>
            <a:xfrm>
              <a:off x="4438718" y="3626100"/>
              <a:ext cx="25555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 dirty="0">
                  <a:latin typeface="+mj-lt"/>
                  <a:cs typeface="Arial"/>
                </a:rPr>
                <a:t>Encuesta de coordinación de la atención</a:t>
              </a:r>
              <a:endParaRPr lang="es-US" sz="1600" i="1" dirty="0">
                <a:latin typeface="+mj-lt"/>
                <a:cs typeface="Arial"/>
              </a:endParaRPr>
            </a:p>
          </p:txBody>
        </p:sp>
        <p:pic>
          <p:nvPicPr>
            <p:cNvPr id="28" name="Graphic 27" descr="Care with solid fill">
              <a:extLst>
                <a:ext uri="{FF2B5EF4-FFF2-40B4-BE49-F238E27FC236}">
                  <a16:creationId xmlns:a16="http://schemas.microsoft.com/office/drawing/2014/main" id="{840C67A0-C31D-6A7C-72CF-61F21F25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90378" y="3497871"/>
              <a:ext cx="584647" cy="5846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9EF9B3-5F25-2AB6-312D-C7EE5E7D0B71}"/>
              </a:ext>
            </a:extLst>
          </p:cNvPr>
          <p:cNvGrpSpPr/>
          <p:nvPr/>
        </p:nvGrpSpPr>
        <p:grpSpPr>
          <a:xfrm>
            <a:off x="3368230" y="3518900"/>
            <a:ext cx="3337371" cy="522137"/>
            <a:chOff x="3690378" y="5494066"/>
            <a:chExt cx="4343523" cy="64134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075DF31-D264-84C5-BD8C-30506BE03D61}"/>
                </a:ext>
              </a:extLst>
            </p:cNvPr>
            <p:cNvSpPr txBox="1"/>
            <p:nvPr/>
          </p:nvSpPr>
          <p:spPr>
            <a:xfrm>
              <a:off x="4381055" y="5603306"/>
              <a:ext cx="3652846" cy="41585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 dirty="0">
                  <a:latin typeface="+mj-lt"/>
                  <a:cs typeface="Arial"/>
                </a:rPr>
                <a:t>Cumpleaños/Aniversario laboral</a:t>
              </a:r>
              <a:endParaRPr lang="es-US" sz="1600" i="1" dirty="0">
                <a:latin typeface="+mj-lt"/>
                <a:cs typeface="Arial"/>
              </a:endParaRPr>
            </a:p>
          </p:txBody>
        </p:sp>
        <p:pic>
          <p:nvPicPr>
            <p:cNvPr id="39" name="Graphic 38" descr="Balloons with solid fill">
              <a:extLst>
                <a:ext uri="{FF2B5EF4-FFF2-40B4-BE49-F238E27FC236}">
                  <a16:creationId xmlns:a16="http://schemas.microsoft.com/office/drawing/2014/main" id="{D2E23E65-13A5-10CE-E910-1EEF5DB8C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0378" y="5494066"/>
              <a:ext cx="641348" cy="64134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5FB1CD-C6AF-8E92-F554-C18AD5A4F790}"/>
              </a:ext>
            </a:extLst>
          </p:cNvPr>
          <p:cNvGrpSpPr/>
          <p:nvPr/>
        </p:nvGrpSpPr>
        <p:grpSpPr>
          <a:xfrm>
            <a:off x="3383489" y="3041037"/>
            <a:ext cx="2849980" cy="502293"/>
            <a:chOff x="3673934" y="6301581"/>
            <a:chExt cx="4009899" cy="592228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E0DEB63-C9CD-F6CC-9387-9CCCB7D4CCD3}"/>
                </a:ext>
              </a:extLst>
            </p:cNvPr>
            <p:cNvSpPr txBox="1"/>
            <p:nvPr/>
          </p:nvSpPr>
          <p:spPr>
            <a:xfrm>
              <a:off x="4384244" y="6366751"/>
              <a:ext cx="3299589" cy="39917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 dirty="0">
                  <a:latin typeface="+mj-lt"/>
                  <a:cs typeface="Arial"/>
                </a:rPr>
                <a:t>Recordatorios de fichaje de entrada/salida</a:t>
              </a:r>
              <a:endParaRPr lang="es-US" sz="1600" i="1" dirty="0">
                <a:latin typeface="+mj-lt"/>
                <a:cs typeface="Arial"/>
              </a:endParaRPr>
            </a:p>
          </p:txBody>
        </p:sp>
        <p:pic>
          <p:nvPicPr>
            <p:cNvPr id="48" name="Graphic 47" descr="Alarm Ringing with solid fill">
              <a:extLst>
                <a:ext uri="{FF2B5EF4-FFF2-40B4-BE49-F238E27FC236}">
                  <a16:creationId xmlns:a16="http://schemas.microsoft.com/office/drawing/2014/main" id="{217826D6-69A0-64BC-EB2A-457FB6B72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73934" y="6301581"/>
              <a:ext cx="592228" cy="59222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AC5D3-B308-D299-6C89-6D7A3AAF72C1}"/>
              </a:ext>
            </a:extLst>
          </p:cNvPr>
          <p:cNvGrpSpPr/>
          <p:nvPr/>
        </p:nvGrpSpPr>
        <p:grpSpPr>
          <a:xfrm>
            <a:off x="3368230" y="4683610"/>
            <a:ext cx="2555555" cy="623252"/>
            <a:chOff x="3668435" y="4094180"/>
            <a:chExt cx="3294282" cy="61323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97867E-2D5F-7BA2-09EA-89806999999F}"/>
                </a:ext>
              </a:extLst>
            </p:cNvPr>
            <p:cNvSpPr txBox="1"/>
            <p:nvPr/>
          </p:nvSpPr>
          <p:spPr>
            <a:xfrm>
              <a:off x="4407163" y="4253918"/>
              <a:ext cx="25555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 dirty="0">
                  <a:latin typeface="+mj-lt"/>
                  <a:cs typeface="Arial"/>
                </a:rPr>
                <a:t>Recibo de sueldo disponible</a:t>
              </a:r>
              <a:endParaRPr lang="es-US" sz="1600" i="1" dirty="0">
                <a:latin typeface="+mj-lt"/>
                <a:cs typeface="Arial"/>
              </a:endParaRPr>
            </a:p>
          </p:txBody>
        </p:sp>
        <p:pic>
          <p:nvPicPr>
            <p:cNvPr id="50" name="Graphic 49" descr="Bank with solid fill">
              <a:extLst>
                <a:ext uri="{FF2B5EF4-FFF2-40B4-BE49-F238E27FC236}">
                  <a16:creationId xmlns:a16="http://schemas.microsoft.com/office/drawing/2014/main" id="{B16A9DA8-5031-A196-2F90-922A277A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68435" y="4094180"/>
              <a:ext cx="613238" cy="61323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F43EA4-4B39-D179-5366-86AB0E27CD3D}"/>
              </a:ext>
            </a:extLst>
          </p:cNvPr>
          <p:cNvGrpSpPr/>
          <p:nvPr/>
        </p:nvGrpSpPr>
        <p:grpSpPr>
          <a:xfrm>
            <a:off x="3368230" y="4133206"/>
            <a:ext cx="2885814" cy="515409"/>
            <a:chOff x="3705646" y="4806353"/>
            <a:chExt cx="3604938" cy="5738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0C6B927-63BF-1DE2-49BA-8DFC0929D772}"/>
                </a:ext>
              </a:extLst>
            </p:cNvPr>
            <p:cNvSpPr txBox="1"/>
            <p:nvPr/>
          </p:nvSpPr>
          <p:spPr>
            <a:xfrm>
              <a:off x="4381056" y="4937746"/>
              <a:ext cx="2929528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es-US" sz="1600" b="1" i="1" dirty="0">
                  <a:latin typeface="+mj-lt"/>
                  <a:cs typeface="Arial"/>
                </a:rPr>
                <a:t>W-2 disponible</a:t>
              </a:r>
              <a:endParaRPr lang="es-US" sz="1600" i="1" dirty="0">
                <a:latin typeface="+mj-lt"/>
                <a:cs typeface="Arial"/>
              </a:endParaRPr>
            </a:p>
          </p:txBody>
        </p:sp>
        <p:pic>
          <p:nvPicPr>
            <p:cNvPr id="55" name="Graphic 54" descr="Open envelope with solid fill">
              <a:extLst>
                <a:ext uri="{FF2B5EF4-FFF2-40B4-BE49-F238E27FC236}">
                  <a16:creationId xmlns:a16="http://schemas.microsoft.com/office/drawing/2014/main" id="{1CBF2516-C2E6-9CB4-700F-261665576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705646" y="4806353"/>
              <a:ext cx="573843" cy="57384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3B50D3E-7417-1117-B436-A84D0F55AC18}"/>
              </a:ext>
            </a:extLst>
          </p:cNvPr>
          <p:cNvSpPr txBox="1"/>
          <p:nvPr/>
        </p:nvSpPr>
        <p:spPr>
          <a:xfrm>
            <a:off x="3185160" y="2216675"/>
            <a:ext cx="36530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US" b="1" i="1" dirty="0"/>
              <a:t>Esta es una lista de las notificaciones dentro de la aplicación y las notificaciones emergentes que recibirá en Caregiver Connect:</a:t>
            </a:r>
          </a:p>
        </p:txBody>
      </p:sp>
    </p:spTree>
    <p:extLst>
      <p:ext uri="{BB962C8B-B14F-4D97-AF65-F5344CB8AC3E}">
        <p14:creationId xmlns:p14="http://schemas.microsoft.com/office/powerpoint/2010/main" val="517924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226484-67C6-9153-95D0-35286FFD3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59" y="1456032"/>
            <a:ext cx="1642229" cy="33446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s-US" sz="2000" b="1" i="1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Configurar su perfil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AE9C6E-F4DB-C692-0A79-EA54A7CE135E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05BB6D-2617-5D19-17B2-366FABAAD5B3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>
                  <a:latin typeface="Fira Sans" panose="020B0503050000020004" pitchFamily="34" charset="0"/>
                </a:rPr>
                <a:t>Haga clic en </a:t>
              </a:r>
              <a:r>
                <a:rPr lang="es-US" b="1">
                  <a:latin typeface="Fira Sans" panose="020B0503050000020004" pitchFamily="34" charset="0"/>
                </a:rPr>
                <a:t>Ver perfil</a:t>
              </a:r>
              <a:r>
                <a:rPr lang="es-US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12B19A1A-C30C-3F67-CE8C-EFC28817DBF5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05696296-ED2E-770A-F47E-B47911BDDCC0}"/>
              </a:ext>
            </a:extLst>
          </p:cNvPr>
          <p:cNvSpPr/>
          <p:nvPr/>
        </p:nvSpPr>
        <p:spPr bwMode="auto">
          <a:xfrm>
            <a:off x="1014005" y="3034774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E73684-2722-3ECD-8685-FE4BCE8AD1BB}"/>
              </a:ext>
            </a:extLst>
          </p:cNvPr>
          <p:cNvGrpSpPr/>
          <p:nvPr/>
        </p:nvGrpSpPr>
        <p:grpSpPr>
          <a:xfrm>
            <a:off x="3382685" y="2856469"/>
            <a:ext cx="2528704" cy="1089226"/>
            <a:chOff x="4022119" y="2487117"/>
            <a:chExt cx="2528704" cy="108922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812C36D-9263-EA41-4523-C3C445A68FE9}"/>
                </a:ext>
              </a:extLst>
            </p:cNvPr>
            <p:cNvSpPr txBox="1"/>
            <p:nvPr/>
          </p:nvSpPr>
          <p:spPr>
            <a:xfrm>
              <a:off x="4241815" y="2665422"/>
              <a:ext cx="2309008" cy="91092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dirty="0">
                  <a:latin typeface="Fira Sans" panose="020B0503050000020004" pitchFamily="34" charset="0"/>
                </a:rPr>
                <a:t>Navegue hasta Mis preferencias, seleccione</a:t>
              </a:r>
              <a:r>
                <a:rPr lang="es-US" sz="1400" dirty="0">
                  <a:latin typeface="Fira Sans" panose="020B0503050000020004" pitchFamily="34" charset="0"/>
                </a:rPr>
                <a:t> </a:t>
              </a:r>
              <a:r>
                <a:rPr lang="es-US" sz="1400" b="1" dirty="0">
                  <a:latin typeface="Fira Sans" panose="020B0503050000020004" pitchFamily="34" charset="0"/>
                </a:rPr>
                <a:t>Preferencias de turnos </a:t>
              </a:r>
              <a:r>
                <a:rPr lang="es-US" sz="1400" dirty="0">
                  <a:latin typeface="Fira Sans" panose="020B0503050000020004" pitchFamily="34" charset="0"/>
                </a:rPr>
                <a:t>y</a:t>
              </a:r>
              <a:r>
                <a:rPr lang="es-US" sz="1400" b="1" dirty="0">
                  <a:latin typeface="Fira Sans" panose="020B0503050000020004" pitchFamily="34" charset="0"/>
                </a:rPr>
                <a:t> Preferencias personales</a:t>
              </a:r>
              <a:r>
                <a:rPr lang="es-US" dirty="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6DE976D7-D49A-244B-380A-CD46DD0ED078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40556-66F5-CF4A-9E1C-8E3B1FD72DB4}"/>
              </a:ext>
            </a:extLst>
          </p:cNvPr>
          <p:cNvGrpSpPr/>
          <p:nvPr/>
        </p:nvGrpSpPr>
        <p:grpSpPr>
          <a:xfrm>
            <a:off x="1958495" y="7980742"/>
            <a:ext cx="2897774" cy="1331327"/>
            <a:chOff x="1486048" y="8064401"/>
            <a:chExt cx="2466321" cy="89838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5E9AA3D-A450-CBDD-620B-A41143EDCC9B}"/>
                </a:ext>
              </a:extLst>
            </p:cNvPr>
            <p:cNvSpPr txBox="1"/>
            <p:nvPr/>
          </p:nvSpPr>
          <p:spPr>
            <a:xfrm>
              <a:off x="1486048" y="8224119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dirty="0">
                  <a:latin typeface="Fira Sans" panose="020B0503050000020004" pitchFamily="34" charset="0"/>
                </a:rPr>
                <a:t>En </a:t>
              </a:r>
              <a:r>
                <a:rPr lang="es-US" b="1" dirty="0">
                  <a:latin typeface="Fira Sans" panose="020B0503050000020004" pitchFamily="34" charset="0"/>
                </a:rPr>
                <a:t>Preferencias personales </a:t>
              </a:r>
              <a:r>
                <a:rPr lang="es-US" dirty="0">
                  <a:latin typeface="Fira Sans" panose="020B0503050000020004" pitchFamily="34" charset="0"/>
                </a:rPr>
                <a:t>se incluye si tiene mascotas, si fuma, los idiomas que habla y las actividades que le gusta hacer con los clientes.</a:t>
              </a:r>
              <a:endParaRPr lang="es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FE2C972-D9DA-9F66-A4A3-A82D0CCFC975}"/>
                </a:ext>
              </a:extLst>
            </p:cNvPr>
            <p:cNvSpPr/>
            <p:nvPr/>
          </p:nvSpPr>
          <p:spPr bwMode="auto">
            <a:xfrm>
              <a:off x="3658542" y="8064401"/>
              <a:ext cx="293827" cy="24499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s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A0ADF7-E640-DBCC-BA90-09B3A664331F}"/>
              </a:ext>
            </a:extLst>
          </p:cNvPr>
          <p:cNvGrpSpPr/>
          <p:nvPr/>
        </p:nvGrpSpPr>
        <p:grpSpPr>
          <a:xfrm>
            <a:off x="31262" y="6207885"/>
            <a:ext cx="3168172" cy="1899178"/>
            <a:chOff x="825774" y="7508657"/>
            <a:chExt cx="3168172" cy="1899178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1985BE-8B51-5A71-A9E8-17B6C8AC0573}"/>
                </a:ext>
              </a:extLst>
            </p:cNvPr>
            <p:cNvSpPr txBox="1"/>
            <p:nvPr/>
          </p:nvSpPr>
          <p:spPr>
            <a:xfrm>
              <a:off x="825774" y="7803702"/>
              <a:ext cx="3061971" cy="160413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dirty="0">
                  <a:latin typeface="Fira Sans" panose="020B0503050000020004" pitchFamily="34" charset="0"/>
                </a:rPr>
                <a:t>Las </a:t>
              </a:r>
              <a:r>
                <a:rPr lang="es-US" b="1" dirty="0">
                  <a:latin typeface="Fira Sans" panose="020B0503050000020004" pitchFamily="34" charset="0"/>
                </a:rPr>
                <a:t>Preferencias de turnos </a:t>
              </a:r>
              <a:r>
                <a:rPr lang="es-US" dirty="0">
                  <a:latin typeface="Fira Sans" panose="020B0503050000020004" pitchFamily="34" charset="0"/>
                </a:rPr>
                <a:t>son</a:t>
              </a:r>
              <a:r>
                <a:rPr lang="es-US" sz="1400" dirty="0">
                  <a:latin typeface="Fira Sans" panose="020B0503050000020004" pitchFamily="34" charset="0"/>
                </a:rPr>
                <a:t> los </a:t>
              </a:r>
              <a:r>
                <a:rPr lang="es-US" sz="1400" b="1" dirty="0">
                  <a:latin typeface="Fira Sans" panose="020B0503050000020004" pitchFamily="34" charset="0"/>
                </a:rPr>
                <a:t>días,</a:t>
              </a:r>
              <a:r>
                <a:rPr lang="es-US" b="1" dirty="0">
                  <a:latin typeface="Fira Sans" panose="020B0503050000020004" pitchFamily="34" charset="0"/>
                </a:rPr>
                <a:t>, </a:t>
              </a:r>
              <a:r>
                <a:rPr lang="es-US" sz="1400" b="1" dirty="0">
                  <a:latin typeface="Fira Sans" panose="020B0503050000020004" pitchFamily="34" charset="0"/>
                </a:rPr>
                <a:t>los horarios </a:t>
              </a:r>
              <a:r>
                <a:rPr lang="es-US" sz="1400" dirty="0">
                  <a:latin typeface="Fira Sans" panose="020B0503050000020004" pitchFamily="34" charset="0"/>
                </a:rPr>
                <a:t>y</a:t>
              </a:r>
              <a:r>
                <a:rPr lang="es-US" sz="1400" b="1" dirty="0">
                  <a:latin typeface="Fira Sans" panose="020B0503050000020004" pitchFamily="34" charset="0"/>
                </a:rPr>
                <a:t> la cantidad máxima de horas</a:t>
              </a:r>
              <a:r>
                <a:rPr lang="es-US" sz="1400" dirty="0">
                  <a:latin typeface="Fira Sans" panose="020B0503050000020004" pitchFamily="34" charset="0"/>
                </a:rPr>
                <a:t> que está disponible para trabajar y el número de </a:t>
              </a:r>
              <a:r>
                <a:rPr lang="es-US" sz="1400" b="1" dirty="0">
                  <a:latin typeface="Fira Sans" panose="020B0503050000020004" pitchFamily="34" charset="0"/>
                </a:rPr>
                <a:t>millas</a:t>
              </a:r>
              <a:r>
                <a:rPr lang="es-US" sz="1400" dirty="0">
                  <a:latin typeface="Fira Sans" panose="020B0503050000020004" pitchFamily="34" charset="0"/>
                </a:rPr>
                <a:t> que está dispuesto a recorrer hasta su cliente</a:t>
              </a:r>
              <a:r>
                <a:rPr lang="es-US" dirty="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A800222C-DEC0-F814-755B-12CA3DB8FF07}"/>
                </a:ext>
              </a:extLst>
            </p:cNvPr>
            <p:cNvSpPr/>
            <p:nvPr/>
          </p:nvSpPr>
          <p:spPr bwMode="auto">
            <a:xfrm>
              <a:off x="3628186" y="75086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1" name="Freeform 19">
            <a:extLst>
              <a:ext uri="{FF2B5EF4-FFF2-40B4-BE49-F238E27FC236}">
                <a16:creationId xmlns:a16="http://schemas.microsoft.com/office/drawing/2014/main" id="{FEFFC8C7-9836-274D-A1AB-791A0BB71E8D}"/>
              </a:ext>
            </a:extLst>
          </p:cNvPr>
          <p:cNvSpPr/>
          <p:nvPr/>
        </p:nvSpPr>
        <p:spPr>
          <a:xfrm>
            <a:off x="1741446" y="2344737"/>
            <a:ext cx="1611818" cy="3611866"/>
          </a:xfrm>
          <a:custGeom>
            <a:avLst/>
            <a:gdLst/>
            <a:ahLst/>
            <a:cxnLst/>
            <a:rect l="l" t="t" r="r" b="b"/>
            <a:pathLst>
              <a:path w="3201348" h="6597703">
                <a:moveTo>
                  <a:pt x="0" y="0"/>
                </a:moveTo>
                <a:lnTo>
                  <a:pt x="3201348" y="0"/>
                </a:lnTo>
                <a:lnTo>
                  <a:pt x="3201348" y="6597703"/>
                </a:lnTo>
                <a:lnTo>
                  <a:pt x="0" y="6597703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s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75582A-58D4-48C4-1A41-3D9A1A7C91F4}"/>
              </a:ext>
            </a:extLst>
          </p:cNvPr>
          <p:cNvSpPr/>
          <p:nvPr/>
        </p:nvSpPr>
        <p:spPr bwMode="auto">
          <a:xfrm>
            <a:off x="1741446" y="4821612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5C86-D381-EFE5-E5E8-C622F51D8CDD}"/>
              </a:ext>
            </a:extLst>
          </p:cNvPr>
          <p:cNvSpPr/>
          <p:nvPr/>
        </p:nvSpPr>
        <p:spPr bwMode="auto">
          <a:xfrm>
            <a:off x="1769997" y="5096790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077E7-B992-F2E7-D4CC-758164662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7268" y="4124000"/>
            <a:ext cx="1720964" cy="3432447"/>
          </a:xfrm>
          <a:prstGeom prst="round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DB042BB-1AF2-6D62-EEBF-0F56B1E1D9DC}"/>
              </a:ext>
            </a:extLst>
          </p:cNvPr>
          <p:cNvSpPr/>
          <p:nvPr/>
        </p:nvSpPr>
        <p:spPr bwMode="auto">
          <a:xfrm>
            <a:off x="3248708" y="5019603"/>
            <a:ext cx="1624574" cy="59191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AE678-2324-DBB8-95C6-A2089A62883A}"/>
              </a:ext>
            </a:extLst>
          </p:cNvPr>
          <p:cNvSpPr/>
          <p:nvPr/>
        </p:nvSpPr>
        <p:spPr bwMode="auto">
          <a:xfrm>
            <a:off x="4222923" y="5534356"/>
            <a:ext cx="705309" cy="96110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8D6B2E0-CA4D-8E71-A7B6-9418AF5B4681}"/>
              </a:ext>
            </a:extLst>
          </p:cNvPr>
          <p:cNvSpPr/>
          <p:nvPr/>
        </p:nvSpPr>
        <p:spPr bwMode="auto">
          <a:xfrm>
            <a:off x="3231695" y="7080324"/>
            <a:ext cx="1624574" cy="36576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3EBD3-1138-76C1-0FD7-067B0A243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9506" y="6004765"/>
            <a:ext cx="1744539" cy="342307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461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9D1FA-7057-23D2-818F-5525A3E75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8C7A13-3F1D-D4AE-4711-2AF62B6DED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799A30-DF6D-4A47-1363-30FB41CF7004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es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Actualizar el </a:t>
            </a:r>
            <a:r>
              <a:rPr lang="es-US" sz="200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Nombre</a:t>
            </a:r>
            <a:r>
              <a:rPr kumimoji="0" lang="es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 preferid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879C8B-DB62-CF06-9DE6-79845F318B09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B99620-28B1-8235-3284-98BF01FFA625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>
                  <a:latin typeface="Fira Sans" panose="020B0503050000020004" pitchFamily="34" charset="0"/>
                </a:rPr>
                <a:t>Haga clic en </a:t>
              </a:r>
              <a:r>
                <a:rPr lang="es-US" b="1">
                  <a:latin typeface="Fira Sans" panose="020B0503050000020004" pitchFamily="34" charset="0"/>
                </a:rPr>
                <a:t>Ver perfil</a:t>
              </a:r>
              <a:r>
                <a:rPr lang="es-US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4024E83-D961-FD52-64FE-94A072C7FDBB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1D845E-FC2D-CB90-0408-0DBB88B44237}"/>
              </a:ext>
            </a:extLst>
          </p:cNvPr>
          <p:cNvGrpSpPr/>
          <p:nvPr/>
        </p:nvGrpSpPr>
        <p:grpSpPr>
          <a:xfrm>
            <a:off x="3327400" y="2566726"/>
            <a:ext cx="2528704" cy="916968"/>
            <a:chOff x="4022119" y="2487117"/>
            <a:chExt cx="2528704" cy="9169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EF8118-30E6-B71A-0831-10097BE84103}"/>
                </a:ext>
              </a:extLst>
            </p:cNvPr>
            <p:cNvSpPr txBox="1"/>
            <p:nvPr/>
          </p:nvSpPr>
          <p:spPr>
            <a:xfrm>
              <a:off x="4241815" y="2665422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Haga clic en</a:t>
              </a:r>
              <a:r>
                <a:rPr lang="es-US" sz="1400" b="1" dirty="0">
                  <a:latin typeface="Fira Sans" panose="020B0503050000020004" pitchFamily="34" charset="0"/>
                </a:rPr>
                <a:t> Ver mi información</a:t>
              </a:r>
              <a:r>
                <a:rPr lang="es-US" sz="1400" dirty="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3539832D-96D6-F03F-676F-2AAA6B6D562A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9A7F0F-171A-3FB1-DE7C-B224FF4CE3AB}"/>
              </a:ext>
            </a:extLst>
          </p:cNvPr>
          <p:cNvGrpSpPr/>
          <p:nvPr/>
        </p:nvGrpSpPr>
        <p:grpSpPr>
          <a:xfrm>
            <a:off x="1507176" y="8301510"/>
            <a:ext cx="2978755" cy="1010721"/>
            <a:chOff x="587384" y="7952222"/>
            <a:chExt cx="2978755" cy="101072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05EDF95-1194-84F9-3DCE-34AA095F1445}"/>
                </a:ext>
              </a:extLst>
            </p:cNvPr>
            <p:cNvSpPr txBox="1"/>
            <p:nvPr/>
          </p:nvSpPr>
          <p:spPr>
            <a:xfrm>
              <a:off x="587384" y="8224280"/>
              <a:ext cx="279587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Se mostrará Actualización pendiente hasta que los cambios se aprueben. </a:t>
              </a: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AF338BA-1245-CD12-0382-9B51D79E168C}"/>
                </a:ext>
              </a:extLst>
            </p:cNvPr>
            <p:cNvSpPr/>
            <p:nvPr/>
          </p:nvSpPr>
          <p:spPr bwMode="auto">
            <a:xfrm>
              <a:off x="3200379" y="795222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FB1F58-8ED5-A2EF-691F-5A67D8C6947E}"/>
              </a:ext>
            </a:extLst>
          </p:cNvPr>
          <p:cNvGrpSpPr/>
          <p:nvPr/>
        </p:nvGrpSpPr>
        <p:grpSpPr>
          <a:xfrm>
            <a:off x="135685" y="6551223"/>
            <a:ext cx="2928909" cy="1124402"/>
            <a:chOff x="708786" y="8000112"/>
            <a:chExt cx="3207667" cy="112440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695F65E-D65B-652F-8725-1E3E981A0C81}"/>
                </a:ext>
              </a:extLst>
            </p:cNvPr>
            <p:cNvSpPr txBox="1"/>
            <p:nvPr/>
          </p:nvSpPr>
          <p:spPr>
            <a:xfrm>
              <a:off x="708786" y="8197920"/>
              <a:ext cx="3061971" cy="92659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Seleccione </a:t>
              </a:r>
              <a:r>
                <a:rPr lang="es-US" sz="1400" b="1" dirty="0">
                  <a:latin typeface="Fira Sans" panose="020B0503050000020004" pitchFamily="34" charset="0"/>
                </a:rPr>
                <a:t>Nombre preferido </a:t>
              </a:r>
              <a:r>
                <a:rPr lang="es-US" sz="1400" dirty="0">
                  <a:latin typeface="Fira Sans" panose="020B0503050000020004" pitchFamily="34" charset="0"/>
                </a:rPr>
                <a:t>y </a:t>
              </a:r>
              <a:r>
                <a:rPr lang="es-US" sz="1400" b="1" dirty="0">
                  <a:latin typeface="Fira Sans" panose="020B0503050000020004" pitchFamily="34" charset="0"/>
                </a:rPr>
                <a:t>Apellido preferido </a:t>
              </a:r>
              <a:r>
                <a:rPr lang="es-US" sz="1400" dirty="0">
                  <a:latin typeface="Fira Sans" panose="020B0503050000020004" pitchFamily="34" charset="0"/>
                </a:rPr>
                <a:t>para cambiar su Nombre preferido actual.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6CF7BB74-4E91-3BC3-4B5A-ADF66CC702BF}"/>
                </a:ext>
              </a:extLst>
            </p:cNvPr>
            <p:cNvSpPr/>
            <p:nvPr/>
          </p:nvSpPr>
          <p:spPr bwMode="auto">
            <a:xfrm>
              <a:off x="3550693" y="800011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39001C-69FF-1386-FF9B-A2550FDC4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465" y="1035579"/>
            <a:ext cx="1596323" cy="3251178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5C3D367-11C5-B264-41AA-6137549D988E}"/>
              </a:ext>
            </a:extLst>
          </p:cNvPr>
          <p:cNvSpPr/>
          <p:nvPr/>
        </p:nvSpPr>
        <p:spPr bwMode="auto">
          <a:xfrm>
            <a:off x="969966" y="2520692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1028E4-24DA-955D-0371-1921032FDD6D}"/>
              </a:ext>
            </a:extLst>
          </p:cNvPr>
          <p:cNvGrpSpPr/>
          <p:nvPr/>
        </p:nvGrpSpPr>
        <p:grpSpPr>
          <a:xfrm>
            <a:off x="1756194" y="2269413"/>
            <a:ext cx="1531709" cy="3383867"/>
            <a:chOff x="0" y="0"/>
            <a:chExt cx="3201348" cy="659770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D5D230B-CC0C-F4EB-52FC-3B696E7D20D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656E8876-2325-B7D2-5A48-CBCD3A580F70}"/>
              </a:ext>
            </a:extLst>
          </p:cNvPr>
          <p:cNvSpPr/>
          <p:nvPr/>
        </p:nvSpPr>
        <p:spPr bwMode="auto">
          <a:xfrm>
            <a:off x="1840222" y="4074326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3B325D44-CB37-3F12-5E4D-187416B4D807}"/>
              </a:ext>
            </a:extLst>
          </p:cNvPr>
          <p:cNvGrpSpPr/>
          <p:nvPr/>
        </p:nvGrpSpPr>
        <p:grpSpPr>
          <a:xfrm>
            <a:off x="3161356" y="3661999"/>
            <a:ext cx="1611559" cy="3383867"/>
            <a:chOff x="0" y="0"/>
            <a:chExt cx="3201348" cy="6597703"/>
          </a:xfrm>
        </p:grpSpPr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1E117660-3E88-7286-49CC-77ADD3746B62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F5E2CB7B-4EBE-40B5-583B-43EC022767E6}"/>
              </a:ext>
            </a:extLst>
          </p:cNvPr>
          <p:cNvSpPr/>
          <p:nvPr/>
        </p:nvSpPr>
        <p:spPr bwMode="auto">
          <a:xfrm>
            <a:off x="3248894" y="456335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69A6FDE-770C-0298-BB65-64AC90E46F57}"/>
              </a:ext>
            </a:extLst>
          </p:cNvPr>
          <p:cNvSpPr/>
          <p:nvPr/>
        </p:nvSpPr>
        <p:spPr bwMode="auto">
          <a:xfrm>
            <a:off x="3248894" y="486757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A2ED396C-F599-ED55-0AB7-826D9F8DF98B}"/>
              </a:ext>
            </a:extLst>
          </p:cNvPr>
          <p:cNvGrpSpPr/>
          <p:nvPr/>
        </p:nvGrpSpPr>
        <p:grpSpPr>
          <a:xfrm>
            <a:off x="4532847" y="5559032"/>
            <a:ext cx="1624574" cy="3383867"/>
            <a:chOff x="0" y="0"/>
            <a:chExt cx="3201348" cy="6597703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7C0B735-7163-E6ED-FD47-D78E08422081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7BA5A56-1C5A-70F2-B943-33CF519BB1DF}"/>
              </a:ext>
            </a:extLst>
          </p:cNvPr>
          <p:cNvSpPr/>
          <p:nvPr/>
        </p:nvSpPr>
        <p:spPr bwMode="auto">
          <a:xfrm>
            <a:off x="4532847" y="6872663"/>
            <a:ext cx="1527812" cy="28472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0346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es-US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Ver su </a:t>
            </a:r>
            <a:r>
              <a:rPr lang="es-US" sz="2000" b="1" i="1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recibo de sueldo</a:t>
            </a:r>
            <a:endParaRPr kumimoji="0" lang="es-US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B3FC70-9F3D-0C82-FCFE-4D88538B22C8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8D113B-ACBF-2B42-C84D-5A07619850F0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>
                  <a:latin typeface="Fira Sans" panose="020B0503050000020004" pitchFamily="34" charset="0"/>
                </a:rPr>
                <a:t>Haga clic en </a:t>
              </a:r>
              <a:r>
                <a:rPr lang="es-US" b="1">
                  <a:latin typeface="Fira Sans" panose="020B0503050000020004" pitchFamily="34" charset="0"/>
                </a:rPr>
                <a:t>Ver recibos de sueldo </a:t>
              </a:r>
              <a:r>
                <a:rPr lang="es-US">
                  <a:latin typeface="Fira Sans" panose="020B0503050000020004" pitchFamily="34" charset="0"/>
                </a:rPr>
                <a:t>para ver recibos de sueldo actuales y anteriores.</a:t>
              </a: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747ACB4D-D2B0-D401-42DC-C8A2404A1533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567F75-6FD8-1512-2420-786F40A59B07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6086-1152-F08A-97F0-88A0C3BA692D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US" sz="8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B45D3-CE94-AC06-8633-52FA8F04C1B8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C6F0CB-2A38-15E5-4BBE-E16CDBAA4299}"/>
              </a:ext>
            </a:extLst>
          </p:cNvPr>
          <p:cNvSpPr txBox="1"/>
          <p:nvPr/>
        </p:nvSpPr>
        <p:spPr>
          <a:xfrm>
            <a:off x="1700010" y="4186676"/>
            <a:ext cx="6885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S" sz="900" b="1"/>
              <a:t>$250.00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90AE74-A06C-F07C-C06F-BED7846055BD}"/>
              </a:ext>
            </a:extLst>
          </p:cNvPr>
          <p:cNvGrpSpPr/>
          <p:nvPr/>
        </p:nvGrpSpPr>
        <p:grpSpPr>
          <a:xfrm>
            <a:off x="913462" y="7112122"/>
            <a:ext cx="2607204" cy="1095606"/>
            <a:chOff x="1438508" y="8008946"/>
            <a:chExt cx="2607204" cy="1095606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7F7DD55-F2FD-1834-D08B-1D38B77C542D}"/>
                </a:ext>
              </a:extLst>
            </p:cNvPr>
            <p:cNvSpPr txBox="1"/>
            <p:nvPr/>
          </p:nvSpPr>
          <p:spPr>
            <a:xfrm>
              <a:off x="1438508" y="8137484"/>
              <a:ext cx="2446679" cy="96706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Haga clic en </a:t>
              </a:r>
              <a:r>
                <a:rPr lang="es-US" b="1" dirty="0">
                  <a:latin typeface="Fira Sans" panose="020B0503050000020004" pitchFamily="34" charset="0"/>
                </a:rPr>
                <a:t>Anteriores </a:t>
              </a:r>
              <a:r>
                <a:rPr lang="es-US" dirty="0">
                  <a:latin typeface="Fira Sans" panose="020B0503050000020004" pitchFamily="34" charset="0"/>
                </a:rPr>
                <a:t>y seleccione una fecha para ver un recibo de sueldo anterior.</a:t>
              </a:r>
              <a:endParaRPr lang="es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C03E735C-F1C4-7EC7-115B-64E3FA3FE0DB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8D3D65-456F-FE7D-AE14-50D33069426F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801731D-BF52-7295-13C9-C2986126142A}"/>
                </a:ext>
              </a:extLst>
            </p:cNvPr>
            <p:cNvSpPr txBox="1"/>
            <p:nvPr/>
          </p:nvSpPr>
          <p:spPr>
            <a:xfrm>
              <a:off x="4279946" y="2487117"/>
              <a:ext cx="2133238" cy="92490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Haga clic en </a:t>
              </a:r>
              <a:r>
                <a:rPr lang="es-US" sz="1400" b="1" dirty="0">
                  <a:latin typeface="Fira Sans" panose="020B0503050000020004" pitchFamily="34" charset="0"/>
                </a:rPr>
                <a:t>Actual</a:t>
              </a:r>
              <a:r>
                <a:rPr lang="es-US" sz="1400" dirty="0">
                  <a:latin typeface="Fira Sans" panose="020B0503050000020004" pitchFamily="34" charset="0"/>
                </a:rPr>
                <a:t> y luego en </a:t>
              </a:r>
              <a:r>
                <a:rPr lang="es-US" b="1" dirty="0">
                  <a:latin typeface="Fira Sans" panose="020B0503050000020004" pitchFamily="34" charset="0"/>
                </a:rPr>
                <a:t>Ver recibo de sueldo </a:t>
              </a:r>
              <a:r>
                <a:rPr lang="es-US" sz="1400" dirty="0">
                  <a:latin typeface="Fira Sans" panose="020B0503050000020004" pitchFamily="34" charset="0"/>
                </a:rPr>
                <a:t>para ver su </a:t>
              </a:r>
              <a:r>
                <a:rPr lang="es-US" sz="1400" b="1" dirty="0">
                  <a:latin typeface="Fira Sans" panose="020B0503050000020004" pitchFamily="34" charset="0"/>
                </a:rPr>
                <a:t>recibo de sueldo más reciente</a:t>
              </a:r>
              <a:r>
                <a:rPr lang="es-US" sz="1400" dirty="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D0ED3A71-D514-F770-DF2E-401019A5B7D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8042D-469A-4072-C946-449E23E5012B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E278B8-9105-82D0-590E-82660FCE2DF8}"/>
              </a:ext>
            </a:extLst>
          </p:cNvPr>
          <p:cNvGrpSpPr/>
          <p:nvPr/>
        </p:nvGrpSpPr>
        <p:grpSpPr>
          <a:xfrm>
            <a:off x="1375572" y="8386768"/>
            <a:ext cx="2876957" cy="911533"/>
            <a:chOff x="1166257" y="8050293"/>
            <a:chExt cx="2876957" cy="911533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2BE4FE-B6E8-199D-2055-683C9424178C}"/>
                </a:ext>
              </a:extLst>
            </p:cNvPr>
            <p:cNvSpPr txBox="1"/>
            <p:nvPr/>
          </p:nvSpPr>
          <p:spPr>
            <a:xfrm>
              <a:off x="1166257" y="8223163"/>
              <a:ext cx="2625881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/>
                  <a:cs typeface="Arial"/>
                </a:rPr>
                <a:t>Haga clic en </a:t>
              </a:r>
              <a:r>
                <a:rPr lang="es-US" dirty="0">
                  <a:latin typeface="Fira Sans"/>
                  <a:cs typeface="Arial"/>
                </a:rPr>
                <a:t>el </a:t>
              </a:r>
              <a:r>
                <a:rPr lang="es-US" b="1" dirty="0">
                  <a:latin typeface="Fira Sans"/>
                  <a:cs typeface="Arial"/>
                </a:rPr>
                <a:t>ícono de flecha</a:t>
              </a:r>
              <a:r>
                <a:rPr lang="es-US" sz="1400" b="1" dirty="0">
                  <a:latin typeface="Fira Sans"/>
                  <a:cs typeface="Arial"/>
                </a:rPr>
                <a:t> </a:t>
              </a:r>
              <a:r>
                <a:rPr lang="es-US" sz="1400" dirty="0">
                  <a:latin typeface="Fira Sans"/>
                  <a:cs typeface="Arial"/>
                </a:rPr>
                <a:t>para ver, descargar o imprimir un recibo de sueldo</a:t>
              </a:r>
              <a:r>
                <a:rPr lang="es-US" dirty="0">
                  <a:latin typeface="Fira Sans"/>
                  <a:cs typeface="Arial"/>
                </a:rPr>
                <a:t>.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080F5824-F843-EA09-A023-920CC16AD19E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F356CD9-2242-32E3-0B97-590F7F3477A8}"/>
              </a:ext>
            </a:extLst>
          </p:cNvPr>
          <p:cNvSpPr/>
          <p:nvPr/>
        </p:nvSpPr>
        <p:spPr bwMode="auto">
          <a:xfrm>
            <a:off x="6216538" y="6470250"/>
            <a:ext cx="464034" cy="4092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s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D21C44-AC4F-67E2-3B41-6D8DF0D87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593" y="1019090"/>
            <a:ext cx="1953122" cy="409312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11CFDD43-111F-798F-1BAF-B50104F79A22}"/>
              </a:ext>
            </a:extLst>
          </p:cNvPr>
          <p:cNvSpPr/>
          <p:nvPr/>
        </p:nvSpPr>
        <p:spPr bwMode="auto">
          <a:xfrm>
            <a:off x="643107" y="2201452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EE634A1-3AF3-639E-1A7B-F90C77646C2C}"/>
              </a:ext>
            </a:extLst>
          </p:cNvPr>
          <p:cNvGrpSpPr/>
          <p:nvPr/>
        </p:nvGrpSpPr>
        <p:grpSpPr>
          <a:xfrm>
            <a:off x="2100354" y="2481659"/>
            <a:ext cx="2127195" cy="4368424"/>
            <a:chOff x="8045428" y="1324839"/>
            <a:chExt cx="2190120" cy="43742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8EF085F-DC73-D0D4-A62E-5DFF8A28EB0C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4774D6B-401E-D580-E507-6F61F9552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B42B77EC-66AE-2086-E9C9-E65E19303E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A001C74-50E3-7A87-628F-47CB1386CB74}"/>
                </a:ext>
              </a:extLst>
            </p:cNvPr>
            <p:cNvSpPr/>
            <p:nvPr/>
          </p:nvSpPr>
          <p:spPr bwMode="auto">
            <a:xfrm>
              <a:off x="8389084" y="1846670"/>
              <a:ext cx="624287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E7FAB1-1494-8543-C819-ED6CF6618C63}"/>
                </a:ext>
              </a:extLst>
            </p:cNvPr>
            <p:cNvSpPr/>
            <p:nvPr/>
          </p:nvSpPr>
          <p:spPr bwMode="auto">
            <a:xfrm>
              <a:off x="8191689" y="3038333"/>
              <a:ext cx="1127539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1FC78C-ACBF-8CB1-85AB-4F3B8329DDDE}"/>
              </a:ext>
            </a:extLst>
          </p:cNvPr>
          <p:cNvGrpSpPr/>
          <p:nvPr/>
        </p:nvGrpSpPr>
        <p:grpSpPr>
          <a:xfrm>
            <a:off x="3497859" y="3836895"/>
            <a:ext cx="2309008" cy="4370832"/>
            <a:chOff x="7468774" y="5236189"/>
            <a:chExt cx="2190120" cy="437422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09AFCA4-CD86-C4AF-FCA6-4E4841637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8774" y="5236189"/>
              <a:ext cx="2190120" cy="4374223"/>
            </a:xfrm>
            <a:prstGeom prst="roundRect">
              <a:avLst/>
            </a:prstGeom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1DE50D8A-3486-56B7-1838-EA8314C50B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739" y="5331345"/>
              <a:ext cx="1931772" cy="4181588"/>
            </a:xfrm>
            <a:prstGeom prst="roundRect">
              <a:avLst/>
            </a:prstGeom>
            <a:ln w="19050"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A7CD6E-FEB7-2C3F-C0F6-C70B8E8A9ACC}"/>
                </a:ext>
              </a:extLst>
            </p:cNvPr>
            <p:cNvSpPr/>
            <p:nvPr/>
          </p:nvSpPr>
          <p:spPr bwMode="auto">
            <a:xfrm>
              <a:off x="8535538" y="5761733"/>
              <a:ext cx="942823" cy="25310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0C54983-81D4-CE78-7598-44EA8BC035DF}"/>
                </a:ext>
              </a:extLst>
            </p:cNvPr>
            <p:cNvSpPr/>
            <p:nvPr/>
          </p:nvSpPr>
          <p:spPr bwMode="auto">
            <a:xfrm>
              <a:off x="7563369" y="6577376"/>
              <a:ext cx="2000929" cy="362260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s-US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47F41242-9B1D-E598-70FE-028F481110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2010"/>
          <a:stretch/>
        </p:blipFill>
        <p:spPr>
          <a:xfrm>
            <a:off x="4206387" y="6493570"/>
            <a:ext cx="2446679" cy="2902316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006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3B6FC-80E9-9C14-4A23-6ADEE2F9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ADC110-0A5F-3DC7-0241-70D9EA9AB97A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64A1ED-F1D4-E8F4-0480-4824C14B56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DA3CA1-3808-D607-58B6-D92903ADBE0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es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Ver sus documentos fiscales</a:t>
            </a:r>
            <a:endParaRPr kumimoji="0" lang="es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EF737DA-470D-4D21-74EE-981A8C24A305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C070FF-C876-5D09-5A32-861643CD7AAB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dirty="0">
                  <a:latin typeface="Fira Sans" panose="020B0503050000020004" pitchFamily="34" charset="0"/>
                </a:rPr>
                <a:t>Haga clic en </a:t>
              </a:r>
              <a:r>
                <a:rPr lang="es-US" b="1" dirty="0">
                  <a:latin typeface="Fira Sans" panose="020B0503050000020004" pitchFamily="34" charset="0"/>
                </a:rPr>
                <a:t>Ver recibos de sueldo</a:t>
              </a:r>
              <a:r>
                <a:rPr lang="es-US" dirty="0">
                  <a:latin typeface="Fira Sans" panose="020B0503050000020004" pitchFamily="34" charset="0"/>
                </a:rPr>
                <a:t>.</a:t>
              </a: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86642ED2-4D8D-17FE-4605-E722ACB18617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7668F85-3693-9E78-D8EE-EBB801CC4D1E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736700-D7E1-671A-F9F0-565390964905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FC229B3-2D5A-F253-E507-04CB60003760}"/>
              </a:ext>
            </a:extLst>
          </p:cNvPr>
          <p:cNvGrpSpPr/>
          <p:nvPr/>
        </p:nvGrpSpPr>
        <p:grpSpPr>
          <a:xfrm>
            <a:off x="1144944" y="7112122"/>
            <a:ext cx="2451922" cy="952495"/>
            <a:chOff x="1593790" y="8008946"/>
            <a:chExt cx="2451922" cy="95249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D84CF3C-3AB5-6936-57D1-C4FE10BB4EA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dirty="0">
                  <a:latin typeface="Fira Sans" panose="020B0503050000020004" pitchFamily="34" charset="0"/>
                </a:rPr>
                <a:t>Se mostrará una lista de los W-2 anuales. Haga clic en el W-2.</a:t>
              </a:r>
              <a:endParaRPr lang="es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E73CF332-D8E2-4184-04C7-024914352BF7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1266A6-0437-42E9-B6E9-C5B99026A777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5556CB-A82A-A123-433A-E45667EEBDB3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 panose="020B0503050000020004" pitchFamily="34" charset="0"/>
                </a:rPr>
                <a:t>Haga clic en </a:t>
              </a:r>
              <a:r>
                <a:rPr lang="es-US" b="1" dirty="0">
                  <a:latin typeface="Fira Sans" panose="020B0503050000020004" pitchFamily="34" charset="0"/>
                </a:rPr>
                <a:t>Documentos fiscales</a:t>
              </a:r>
              <a:r>
                <a:rPr lang="es-US" sz="1400" dirty="0">
                  <a:latin typeface="Fira Sans" panose="020B0503050000020004" pitchFamily="34" charset="0"/>
                </a:rPr>
                <a:t>.</a:t>
              </a:r>
              <a:endParaRPr lang="es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5B4987C5-525E-6DD3-986C-A659FC56ADA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961BE0-3384-07F4-7A09-514EA266B5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38D4CC-3735-052F-6462-DE4CDED984A9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AB616F-F79F-5490-8A7E-5C70209716DD}"/>
              </a:ext>
            </a:extLst>
          </p:cNvPr>
          <p:cNvGrpSpPr/>
          <p:nvPr/>
        </p:nvGrpSpPr>
        <p:grpSpPr>
          <a:xfrm>
            <a:off x="1803105" y="8386768"/>
            <a:ext cx="2449424" cy="911148"/>
            <a:chOff x="1593790" y="8050293"/>
            <a:chExt cx="2449424" cy="9111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0BA7C0-5F42-0525-8E43-BB14F63CE40F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es-US" sz="1400" dirty="0">
                  <a:latin typeface="Fira Sans"/>
                  <a:cs typeface="Arial"/>
                </a:rPr>
                <a:t>Haga clic en </a:t>
              </a:r>
              <a:r>
                <a:rPr lang="es-US" dirty="0">
                  <a:latin typeface="Fira Sans"/>
                  <a:cs typeface="Arial"/>
                </a:rPr>
                <a:t>el </a:t>
              </a:r>
              <a:r>
                <a:rPr lang="es-US" b="1" dirty="0">
                  <a:latin typeface="Fira Sans"/>
                  <a:cs typeface="Arial"/>
                </a:rPr>
                <a:t>ícono de flecha</a:t>
              </a:r>
              <a:r>
                <a:rPr lang="es-US" sz="1400" b="1" dirty="0">
                  <a:latin typeface="Fira Sans"/>
                  <a:cs typeface="Arial"/>
                </a:rPr>
                <a:t> </a:t>
              </a:r>
              <a:r>
                <a:rPr lang="es-US" sz="1400" dirty="0">
                  <a:latin typeface="Fira Sans"/>
                  <a:cs typeface="Arial"/>
                </a:rPr>
                <a:t>para ver, descargar o imprimir un </a:t>
              </a:r>
              <a:r>
                <a:rPr lang="es-US" dirty="0">
                  <a:latin typeface="Fira Sans"/>
                  <a:cs typeface="Arial"/>
                </a:rPr>
                <a:t>W-2.</a:t>
              </a:r>
              <a:endParaRPr lang="es-US" sz="1400" dirty="0">
                <a:latin typeface="Fira Sans"/>
                <a:cs typeface="Arial"/>
              </a:endParaRP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8F04ED4F-47BE-D4FB-E26F-402611E438AA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s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364991F-8271-28EB-B187-7A1F045EC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980" y="1243473"/>
            <a:ext cx="1845399" cy="374565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EAC3393-5831-F21A-FD50-AB70C4B2BF31}"/>
              </a:ext>
            </a:extLst>
          </p:cNvPr>
          <p:cNvSpPr/>
          <p:nvPr/>
        </p:nvSpPr>
        <p:spPr bwMode="auto">
          <a:xfrm>
            <a:off x="740792" y="2334159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E2DEEEE8-217A-63E1-70CE-5B2995280118}"/>
              </a:ext>
            </a:extLst>
          </p:cNvPr>
          <p:cNvGrpSpPr/>
          <p:nvPr/>
        </p:nvGrpSpPr>
        <p:grpSpPr>
          <a:xfrm>
            <a:off x="2001764" y="2270113"/>
            <a:ext cx="1845398" cy="3525786"/>
            <a:chOff x="0" y="0"/>
            <a:chExt cx="3201348" cy="6597703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5C0776D-D7E4-62CC-8D09-82ADEA131914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0D1B7EA-6944-6EEC-A658-39ABD3039E69}"/>
              </a:ext>
            </a:extLst>
          </p:cNvPr>
          <p:cNvSpPr/>
          <p:nvPr/>
        </p:nvSpPr>
        <p:spPr bwMode="auto">
          <a:xfrm>
            <a:off x="2042668" y="4401653"/>
            <a:ext cx="1569664" cy="28939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1B901A92-F251-BAEF-58BC-5EDC9E7A584E}"/>
              </a:ext>
            </a:extLst>
          </p:cNvPr>
          <p:cNvGrpSpPr/>
          <p:nvPr/>
        </p:nvGrpSpPr>
        <p:grpSpPr>
          <a:xfrm>
            <a:off x="4877748" y="6087777"/>
            <a:ext cx="1776490" cy="3447321"/>
            <a:chOff x="-238026" y="-274835"/>
            <a:chExt cx="3201348" cy="6597703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942C9C6-0FF2-F898-CA06-4237C1809EA5}"/>
                </a:ext>
              </a:extLst>
            </p:cNvPr>
            <p:cNvSpPr/>
            <p:nvPr/>
          </p:nvSpPr>
          <p:spPr>
            <a:xfrm>
              <a:off x="-238026" y="-274835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es-US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2A49CD4-3E12-AC10-AA3B-5C5441DCA31F}"/>
              </a:ext>
            </a:extLst>
          </p:cNvPr>
          <p:cNvSpPr/>
          <p:nvPr/>
        </p:nvSpPr>
        <p:spPr bwMode="auto">
          <a:xfrm>
            <a:off x="6144657" y="6746925"/>
            <a:ext cx="461486" cy="223398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8">
            <a:extLst>
              <a:ext uri="{FF2B5EF4-FFF2-40B4-BE49-F238E27FC236}">
                <a16:creationId xmlns:a16="http://schemas.microsoft.com/office/drawing/2014/main" id="{3B9E52B2-A94F-A3B8-3E36-976DE75D6B2E}"/>
              </a:ext>
            </a:extLst>
          </p:cNvPr>
          <p:cNvGrpSpPr/>
          <p:nvPr/>
        </p:nvGrpSpPr>
        <p:grpSpPr>
          <a:xfrm>
            <a:off x="3512312" y="4031202"/>
            <a:ext cx="1731310" cy="3266066"/>
            <a:chOff x="0" y="0"/>
            <a:chExt cx="3201348" cy="6597703"/>
          </a:xfrm>
        </p:grpSpPr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9E1F6B2-520E-5F7F-BCDE-EB29C80DF7B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es-US"/>
            </a:p>
          </p:txBody>
        </p:sp>
      </p:grpSp>
    </p:spTree>
    <p:extLst>
      <p:ext uri="{BB962C8B-B14F-4D97-AF65-F5344CB8AC3E}">
        <p14:creationId xmlns:p14="http://schemas.microsoft.com/office/powerpoint/2010/main" val="20013984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282F2E2808083B092F062D36" val="H08aWFt3alEkDywMCCIeUWtlWlxGGXdPbQAVVghPVk9QaX5HYEw1Sl5xVEV/dk5cRgV3T20ARA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222232E2F081236" val="H08aWFt3alEkDywMCCIeUWtlWlxGGXdPbAMPWlVbWExNZSpRdltzRl1yW0Vla1oHRldjTWAcCUBWXkBYCWV8QH5Ae1hVdhE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heme/theme1.xml><?xml version="1.0" encoding="utf-8"?>
<a:theme xmlns:a="http://schemas.openxmlformats.org/drawingml/2006/main" name="Intro and Divider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Barclays 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2.xml><?xml version="1.0" encoding="utf-8"?>
<a:theme xmlns:a="http://schemas.openxmlformats.org/drawingml/2006/main" name="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3.xml><?xml version="1.0" encoding="utf-8"?>
<a:theme xmlns:a="http://schemas.openxmlformats.org/drawingml/2006/main" name="2_Office Theme">
  <a:themeElements>
    <a:clrScheme name="HaH Color Scheme">
      <a:dk1>
        <a:srgbClr val="404041"/>
      </a:dk1>
      <a:lt1>
        <a:srgbClr val="FFFFFF"/>
      </a:lt1>
      <a:dk2>
        <a:srgbClr val="6D1D68"/>
      </a:dk2>
      <a:lt2>
        <a:srgbClr val="F3FBEF"/>
      </a:lt2>
      <a:accent1>
        <a:srgbClr val="96288E"/>
      </a:accent1>
      <a:accent2>
        <a:srgbClr val="C71A8D"/>
      </a:accent2>
      <a:accent3>
        <a:srgbClr val="AFC033"/>
      </a:accent3>
      <a:accent4>
        <a:srgbClr val="00B6B6"/>
      </a:accent4>
      <a:accent5>
        <a:srgbClr val="FBAC2E"/>
      </a:accent5>
      <a:accent6>
        <a:srgbClr val="B9BABD"/>
      </a:accent6>
      <a:hlink>
        <a:srgbClr val="C71A8D"/>
      </a:hlink>
      <a:folHlink>
        <a:srgbClr val="AFC0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5.xml><?xml version="1.0" encoding="utf-8"?>
<a:theme xmlns:a="http://schemas.openxmlformats.org/drawingml/2006/main" name="2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88e8755-9e22-413d-a5dc-e6fa913b3719" xsi:nil="true"/>
    <lcf76f155ced4ddcb4097134ff3c332f xmlns="3a94150c-44f1-4a02-9cef-28394f366a23">
      <Terms xmlns="http://schemas.microsoft.com/office/infopath/2007/PartnerControls"/>
    </lcf76f155ced4ddcb4097134ff3c332f>
    <SharedWithUsers xmlns="a88e8755-9e22-413d-a5dc-e6fa913b3719">
      <UserInfo>
        <DisplayName>Megan Lueders</DisplayName>
        <AccountId>106</AccountId>
        <AccountType/>
      </UserInfo>
      <UserInfo>
        <DisplayName>Bill Jamison</DisplayName>
        <AccountId>118</AccountId>
        <AccountType/>
      </UserInfo>
      <UserInfo>
        <DisplayName>Andy Brinckerhoff</DisplayName>
        <AccountId>155</AccountId>
        <AccountType/>
      </UserInfo>
      <UserInfo>
        <DisplayName>WENDY CARBERG</DisplayName>
        <AccountId>17</AccountId>
        <AccountType/>
      </UserInfo>
      <UserInfo>
        <DisplayName>Jennifer Lemkuil</DisplayName>
        <AccountId>105</AccountId>
        <AccountType/>
      </UserInfo>
      <UserInfo>
        <DisplayName>LAUREN FRANK</DisplayName>
        <AccountId>163</AccountId>
        <AccountType/>
      </UserInfo>
      <UserInfo>
        <DisplayName>DYLAN ORBAUGH</DisplayName>
        <AccountId>164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B0AB781811F74799C4C570FDAAB7DC" ma:contentTypeVersion="14" ma:contentTypeDescription="Create a new document." ma:contentTypeScope="" ma:versionID="83941a8bd6a306753dc6fbbd4d291557">
  <xsd:schema xmlns:xsd="http://www.w3.org/2001/XMLSchema" xmlns:xs="http://www.w3.org/2001/XMLSchema" xmlns:p="http://schemas.microsoft.com/office/2006/metadata/properties" xmlns:ns2="3a94150c-44f1-4a02-9cef-28394f366a23" xmlns:ns3="a88e8755-9e22-413d-a5dc-e6fa913b3719" targetNamespace="http://schemas.microsoft.com/office/2006/metadata/properties" ma:root="true" ma:fieldsID="a1250a7d572388ce589aaca0cbfe26c6" ns2:_="" ns3:_="">
    <xsd:import namespace="3a94150c-44f1-4a02-9cef-28394f366a23"/>
    <xsd:import namespace="a88e8755-9e22-413d-a5dc-e6fa913b37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4150c-44f1-4a02-9cef-28394f366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6f9e8b5-8263-4a2d-a9e3-8750687bb3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e8755-9e22-413d-a5dc-e6fa913b371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edd73f9-90e7-46d8-980c-e14249cc9d68}" ma:internalName="TaxCatchAll" ma:showField="CatchAllData" ma:web="a88e8755-9e22-413d-a5dc-e6fa913b37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29E399-2945-4EB2-ADD8-4BA545FD14D9}">
  <ds:schemaRefs>
    <ds:schemaRef ds:uri="http://purl.org/dc/elements/1.1/"/>
    <ds:schemaRef ds:uri="http://www.w3.org/XML/1998/namespace"/>
    <ds:schemaRef ds:uri="a88e8755-9e22-413d-a5dc-e6fa913b3719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3a94150c-44f1-4a02-9cef-28394f366a23"/>
  </ds:schemaRefs>
</ds:datastoreItem>
</file>

<file path=customXml/itemProps2.xml><?xml version="1.0" encoding="utf-8"?>
<ds:datastoreItem xmlns:ds="http://schemas.openxmlformats.org/officeDocument/2006/customXml" ds:itemID="{E9D4741C-9E60-4FF6-9F73-19C3B93E5DA2}">
  <ds:schemaRefs>
    <ds:schemaRef ds:uri="3a94150c-44f1-4a02-9cef-28394f366a23"/>
    <ds:schemaRef ds:uri="a88e8755-9e22-413d-a5dc-e6fa913b37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F789E47-B987-4005-9C2F-6B7992AB2F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12 13 21 HAH-4709_PPT_Master_V7 shortversionfinal10.22</Template>
  <TotalTime>2961</TotalTime>
  <Words>1097</Words>
  <Application>Microsoft Office PowerPoint</Application>
  <PresentationFormat>Custom</PresentationFormat>
  <Paragraphs>16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Calibri</vt:lpstr>
      <vt:lpstr>Calibri Light</vt:lpstr>
      <vt:lpstr>Fira Sans</vt:lpstr>
      <vt:lpstr>Fira Sans Bold</vt:lpstr>
      <vt:lpstr>Wingdings</vt:lpstr>
      <vt:lpstr>Wingdings 2</vt:lpstr>
      <vt:lpstr>Wingdings 3</vt:lpstr>
      <vt:lpstr>Intro and Divider</vt:lpstr>
      <vt:lpstr>Content</vt:lpstr>
      <vt:lpstr>2_Office Theme</vt:lpstr>
      <vt:lpstr>1_Content</vt:lpstr>
      <vt:lpstr>2_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tilla de capacitación</dc:title>
  <dc:creator>Jake Ruetz</dc:creator>
  <cp:lastModifiedBy>TYLER QUILLIN</cp:lastModifiedBy>
  <cp:revision>7</cp:revision>
  <dcterms:created xsi:type="dcterms:W3CDTF">2022-02-15T13:04:28Z</dcterms:created>
  <dcterms:modified xsi:type="dcterms:W3CDTF">2025-05-01T15:5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0AB781811F74799C4C570FDAAB7DC</vt:lpwstr>
  </property>
  <property fmtid="{D5CDD505-2E9C-101B-9397-08002B2CF9AE}" pid="3" name="MSIP_Label_6d5d322d-32bf-4bf5-b158-5f4f2387fdee_Enabled">
    <vt:lpwstr>true</vt:lpwstr>
  </property>
  <property fmtid="{D5CDD505-2E9C-101B-9397-08002B2CF9AE}" pid="4" name="MSIP_Label_6d5d322d-32bf-4bf5-b158-5f4f2387fdee_SetDate">
    <vt:lpwstr>08/18/2022 00:30:26</vt:lpwstr>
  </property>
  <property fmtid="{D5CDD505-2E9C-101B-9397-08002B2CF9AE}" pid="5" name="MSIP_Label_6d5d322d-32bf-4bf5-b158-5f4f2387fdee_Method">
    <vt:lpwstr>Standard</vt:lpwstr>
  </property>
  <property fmtid="{D5CDD505-2E9C-101B-9397-08002B2CF9AE}" pid="6" name="MSIP_Label_6d5d322d-32bf-4bf5-b158-5f4f2387fdee_Name">
    <vt:lpwstr>defa4170-0d19-0005-0004-bc88714345d2</vt:lpwstr>
  </property>
  <property fmtid="{D5CDD505-2E9C-101B-9397-08002B2CF9AE}" pid="7" name="MSIP_Label_6d5d322d-32bf-4bf5-b158-5f4f2387fdee_SiteId">
    <vt:lpwstr>2d9be6dc-3da9-4996-9537-6be529fe28d6</vt:lpwstr>
  </property>
  <property fmtid="{D5CDD505-2E9C-101B-9397-08002B2CF9AE}" pid="8" name="MSIP_Label_6d5d322d-32bf-4bf5-b158-5f4f2387fdee_ActionId">
    <vt:lpwstr>40198325-1ca4-42ed-acdc-c5fa5db42dd1</vt:lpwstr>
  </property>
  <property fmtid="{D5CDD505-2E9C-101B-9397-08002B2CF9AE}" pid="9" name="MSIP_Label_6d5d322d-32bf-4bf5-b158-5f4f2387fdee_ContentBits">
    <vt:lpwstr>0</vt:lpwstr>
  </property>
  <property fmtid="{D5CDD505-2E9C-101B-9397-08002B2CF9AE}" pid="10" name="MediaServiceImageTags">
    <vt:lpwstr/>
  </property>
</Properties>
</file>